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slides/slide60.xml" ContentType="application/vnd.openxmlformats-officedocument.presentationml.slide+xml"/>
  <Override PartName="/ppt/tags/tag130.xml" ContentType="application/vnd.openxmlformats-officedocument.presentationml.tags+xml"/>
  <Override PartName="/ppt/tags/tag120.xml" ContentType="application/vnd.openxmlformats-officedocument.presentationml.tags+xml"/>
  <Override PartName="/ppt/notesSlides/notesSlide20.xml" ContentType="application/vnd.openxmlformats-officedocument.presentationml.notesSlide+xml"/>
  <Override PartName="/ppt/slideLayouts/slideLayout110.xml" ContentType="application/vnd.openxmlformats-officedocument.presentationml.slideLayout+xml"/>
  <Override PartName="/ppt/notesMasters/notesMaster10.xml" ContentType="application/vnd.openxmlformats-officedocument.presentationml.notesMaster+xml"/>
  <Override PartName="/ppt/tags/tag50.xml" ContentType="application/vnd.openxmlformats-officedocument.presentationml.tags+xml"/>
  <Override PartName="/ppt/tags/tag40.xml" ContentType="application/vnd.openxmlformats-officedocument.presentationml.tags+xml"/>
  <Override PartName="/ppt/slideMasters/slideMaster10.xml" ContentType="application/vnd.openxmlformats-officedocument.presentationml.slideMaster+xml"/>
  <Override PartName="/ppt/theme/theme50.xml" ContentType="application/vnd.openxmlformats-officedocument.theme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0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23" r:id="rId5"/>
    <p:sldMasterId id="2147483748" r:id="rId6"/>
    <p:sldMasterId id="2147483750" r:id="rId7"/>
  </p:sldMasterIdLst>
  <p:notesMasterIdLst>
    <p:notesMasterId r:id="rId27"/>
  </p:notesMasterIdLst>
  <p:handoutMasterIdLst>
    <p:handoutMasterId r:id="rId28"/>
  </p:handoutMasterIdLst>
  <p:sldIdLst>
    <p:sldId id="280" r:id="rId8"/>
    <p:sldId id="2147195965" r:id="rId9"/>
    <p:sldId id="298" r:id="rId10"/>
    <p:sldId id="2147195954" r:id="rId11"/>
    <p:sldId id="2147195947" r:id="rId12"/>
    <p:sldId id="2147195948" r:id="rId13"/>
    <p:sldId id="2147195949" r:id="rId14"/>
    <p:sldId id="2147195950" r:id="rId15"/>
    <p:sldId id="2147195955" r:id="rId16"/>
    <p:sldId id="2147195983" r:id="rId17"/>
    <p:sldId id="2147195984" r:id="rId18"/>
    <p:sldId id="2147195957" r:id="rId19"/>
    <p:sldId id="306" r:id="rId20"/>
    <p:sldId id="322" r:id="rId21"/>
    <p:sldId id="334" r:id="rId22"/>
    <p:sldId id="325" r:id="rId23"/>
    <p:sldId id="333" r:id="rId24"/>
    <p:sldId id="319" r:id="rId25"/>
    <p:sldId id="297" r:id="rId26"/>
  </p:sldIdLst>
  <p:sldSz cx="16254413" cy="9144000"/>
  <p:notesSz cx="6858000" cy="9144000"/>
  <p:custDataLst>
    <p:tags r:id="rId29"/>
  </p:custDataLst>
  <p:defaultTextStyle>
    <a:defPPr>
      <a:defRPr lang="nb-NO"/>
    </a:defPPr>
    <a:lvl1pPr marL="0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1pPr>
    <a:lvl2pPr marL="574975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2pPr>
    <a:lvl3pPr marL="114994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3pPr>
    <a:lvl4pPr marL="172492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4pPr>
    <a:lvl5pPr marL="229989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5pPr>
    <a:lvl6pPr marL="287487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6pPr>
    <a:lvl7pPr marL="344984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7pPr>
    <a:lvl8pPr marL="4024823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8pPr>
    <a:lvl9pPr marL="459979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sen, Tone Hagberg" initials="OTH" lastIdx="1" clrIdx="0">
    <p:extLst>
      <p:ext uri="{19B8F6BF-5375-455C-9EA6-DF929625EA0E}">
        <p15:presenceInfo xmlns:p15="http://schemas.microsoft.com/office/powerpoint/2012/main" userId="S::tone.hagberg.olsen@digdir.no::e05b1570-73a8-4a0e-8bac-f848091f4c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3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D5F06-34C2-4284-984B-1F8F9FBDEEFC}" v="190" dt="2020-12-01T20:37:33.991"/>
    <p1510:client id="{AB959A90-6DA0-4998-9214-2543A0FA24D6}" v="209" dt="2020-12-02T07:54:01.053"/>
    <p1510:client id="{BB6168DE-BC7A-4B3F-A169-A47E29571AF3}" v="350" dt="2020-12-02T15:43:52.93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55" d="100"/>
          <a:sy n="55" d="100"/>
        </p:scale>
        <p:origin x="9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C97D9F32-F20C-4DB6-9AA8-FF5CEA8D11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59CB09C-20D6-4E98-B90F-BDF87D963BC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5AD78B-924F-4294-8809-135CCCE6CC67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6CB1BA3-312D-4209-8EA0-1B3A050A5B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1C6328D-6A92-426F-9F1D-E51EC222C2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377C6-E647-4E98-8F65-2DC6962E8ED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5475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_rels/notes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5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A3AAC4-B34A-4E29-97E6-B815757EDAD6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7DDA0-A01D-47AC-9E35-D1DA4CABC46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295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Masters/notesMaster10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A3AAC4-B34A-4E29-97E6-B815757EDAD6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67DDA0-A01D-47AC-9E35-D1DA4CABC46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295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7DDA0-A01D-47AC-9E35-D1DA4CABC46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1253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6DA674-D907-40E8-B298-669158FFD3F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34771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6DA674-D907-40E8-B298-669158FFD3F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347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6DA674-D907-40E8-B298-669158FFD3F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88182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7087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kspertgruppen for datadeling i næringslivet understøtter dette når de som ett av sine tre hovedmål skriver:</a:t>
            </a:r>
          </a:p>
          <a:p>
            <a:r>
              <a:rPr lang="nb-NO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«Det tredje målet bør være å legge til rette for god datautveksling mellom det offentlige og næringslivet, slik at både offentlige oppgaver og næringsutvikling kan gjennomføres mer effektivt». 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61D155-0CD6-4AB6-9BB1-81AE2AC5C1C8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3264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effectLst/>
                <a:latin typeface="Arial" panose="020B060402020202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Verktøykassen må være tilgjengelig og brukbar for tilbydere og konsumenter når de skal dele eller bruke data, uavhengig hvor i prosessen de befinner seg. I likhet med andre verktøykasser inneholder ikke denne råmaterialet, dvs. selve dataene som skal deles, men viser til hvilke hjelpemidler som finnes samt når det er hensiktsmessig å benytte hvilke. </a:t>
            </a:r>
            <a:endParaRPr lang="nb-NO" sz="1200">
              <a:effectLst/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67DDA0-A01D-47AC-9E35-D1DA4CABC46F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8357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8.jpe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sv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6" y="4295660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8054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11102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Grev Wedels Plass 9, 0151 Oslo</a:t>
            </a:r>
            <a:endParaRPr lang="nb-NO" sz="12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3393643" y="7302500"/>
            <a:ext cx="3048000" cy="335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rgbClr val="1E2B3C"/>
                </a:solidFill>
              </a:rPr>
              <a:t>digdir.no</a:t>
            </a:r>
            <a:endParaRPr lang="nb-NO" sz="12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6" y="4295660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8054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11102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Grev Wedels Plass 9, 0151 Oslo</a:t>
            </a:r>
            <a:endParaRPr lang="nb-NO" sz="12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3393643" y="7302500"/>
            <a:ext cx="3048000" cy="335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rgbClr val="1E2B3C"/>
                </a:solidFill>
              </a:rPr>
              <a:t>digdir.no</a:t>
            </a:r>
            <a:endParaRPr lang="nb-NO" sz="12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D25BF4-A77B-49FA-8392-8BC17E491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55560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D25BF4-A77B-49FA-8392-8BC17E491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3BD45C-8BC4-43C9-A28B-450DAB7D30C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nb-NO" sz="5000" b="0" i="0" u="none" cap="none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349495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D25BF4-A77B-49FA-8392-8BC17E491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55560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D25BF4-A77B-49FA-8392-8BC17E491D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3BD45C-8BC4-43C9-A28B-450DAB7D30C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158750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nb-NO" sz="5000" b="0" i="0" u="none" cap="none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3494955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154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154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64230" y="2510971"/>
            <a:ext cx="5977406" cy="5776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682023" y="2510971"/>
            <a:ext cx="5977406" cy="5776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3" y="1480957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63385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7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5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7"/>
            <a:ext cx="2065553" cy="698973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/>
        </p:nvSpPr>
        <p:spPr>
          <a:xfrm>
            <a:off x="13816252" y="754066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53001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3" y="1480957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2453732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buFont typeface="Wingdings" panose="05000000000000000000" pitchFamily="2" charset="2"/>
              <a:buChar char="§"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70696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, g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56D82-4881-45E7-9404-83B85375F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7526" y="3048000"/>
            <a:ext cx="11825085" cy="2207684"/>
          </a:xfrm>
        </p:spPr>
        <p:txBody>
          <a:bodyPr anchor="t">
            <a:normAutofit/>
          </a:bodyPr>
          <a:lstStyle>
            <a:lvl1pPr algn="l">
              <a:defRPr sz="711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826A66-072D-4B53-BB9C-4B48B2EA17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7526" y="5511796"/>
            <a:ext cx="11825085" cy="1456265"/>
          </a:xfrm>
        </p:spPr>
        <p:txBody>
          <a:bodyPr>
            <a:normAutofit/>
          </a:bodyPr>
          <a:lstStyle>
            <a:lvl1pPr marL="0" indent="0" algn="l">
              <a:buNone/>
              <a:defRPr sz="3555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A255023-92A0-4F3D-9511-51B4D172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1017" y="585364"/>
            <a:ext cx="3079310" cy="566105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2C549169-E862-4781-B19E-05F2F846F395}"/>
              </a:ext>
            </a:extLst>
          </p:cNvPr>
          <p:cNvSpPr/>
          <p:nvPr userDrawn="1"/>
        </p:nvSpPr>
        <p:spPr>
          <a:xfrm>
            <a:off x="1502689" y="2216327"/>
            <a:ext cx="628412" cy="628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024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666C6FF-6227-4BB8-91D3-3E85B7531337}"/>
              </a:ext>
            </a:extLst>
          </p:cNvPr>
          <p:cNvSpPr/>
          <p:nvPr userDrawn="1"/>
        </p:nvSpPr>
        <p:spPr>
          <a:xfrm>
            <a:off x="1502689" y="3206930"/>
            <a:ext cx="628412" cy="628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024"/>
          </a:p>
        </p:txBody>
      </p:sp>
    </p:spTree>
    <p:extLst>
      <p:ext uri="{BB962C8B-B14F-4D97-AF65-F5344CB8AC3E}">
        <p14:creationId xmlns:p14="http://schemas.microsoft.com/office/powerpoint/2010/main" val="33845872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, gr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7666B7D1-5994-43FD-ADF4-C1A2EF81A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1017" y="585364"/>
            <a:ext cx="3079310" cy="5661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E56D82-4881-45E7-9404-83B85375F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7526" y="3048000"/>
            <a:ext cx="11825085" cy="2207684"/>
          </a:xfrm>
        </p:spPr>
        <p:txBody>
          <a:bodyPr anchor="t">
            <a:normAutofit/>
          </a:bodyPr>
          <a:lstStyle>
            <a:lvl1pPr algn="l">
              <a:defRPr sz="711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826A66-072D-4B53-BB9C-4B48B2EA17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7526" y="5511796"/>
            <a:ext cx="11825085" cy="1456265"/>
          </a:xfrm>
        </p:spPr>
        <p:txBody>
          <a:bodyPr>
            <a:normAutofit/>
          </a:bodyPr>
          <a:lstStyle>
            <a:lvl1pPr marL="0" indent="0" algn="l">
              <a:buNone/>
              <a:defRPr sz="3555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C549169-E862-4781-B19E-05F2F846F395}"/>
              </a:ext>
            </a:extLst>
          </p:cNvPr>
          <p:cNvSpPr/>
          <p:nvPr userDrawn="1"/>
        </p:nvSpPr>
        <p:spPr>
          <a:xfrm>
            <a:off x="1502689" y="2216327"/>
            <a:ext cx="628412" cy="628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024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666C6FF-6227-4BB8-91D3-3E85B7531337}"/>
              </a:ext>
            </a:extLst>
          </p:cNvPr>
          <p:cNvSpPr/>
          <p:nvPr userDrawn="1"/>
        </p:nvSpPr>
        <p:spPr>
          <a:xfrm>
            <a:off x="1502689" y="3206930"/>
            <a:ext cx="628412" cy="628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024"/>
          </a:p>
        </p:txBody>
      </p:sp>
    </p:spTree>
    <p:extLst>
      <p:ext uri="{BB962C8B-B14F-4D97-AF65-F5344CB8AC3E}">
        <p14:creationId xmlns:p14="http://schemas.microsoft.com/office/powerpoint/2010/main" val="3756412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/ 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E808F0F0-2B43-4EE5-803B-5CF42DDD8B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6254413" cy="9144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3F62892-0EDF-4FA4-8BCF-CB20F609F1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6809" y="1178560"/>
            <a:ext cx="6783338" cy="6784000"/>
          </a:xfrm>
          <a:prstGeom prst="ellipse">
            <a:avLst/>
          </a:prstGeom>
          <a:solidFill>
            <a:schemeClr val="bg1"/>
          </a:solidFill>
        </p:spPr>
        <p:txBody>
          <a:bodyPr lIns="91440" tIns="45720" rIns="91440" bIns="45720"/>
          <a:lstStyle>
            <a:lvl1pPr marL="0" indent="0">
              <a:buNone/>
              <a:defRPr sz="17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9FDE34FC-0741-48B7-97C3-71EE5FA736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6809" y="1913466"/>
            <a:ext cx="6783338" cy="2997200"/>
          </a:xfrm>
          <a:custGeom>
            <a:avLst/>
            <a:gdLst>
              <a:gd name="connsiteX0" fmla="*/ 724171 w 3816000"/>
              <a:gd name="connsiteY0" fmla="*/ 0 h 1685925"/>
              <a:gd name="connsiteX1" fmla="*/ 3091830 w 3816000"/>
              <a:gd name="connsiteY1" fmla="*/ 0 h 1685925"/>
              <a:gd name="connsiteX2" fmla="*/ 3121665 w 3816000"/>
              <a:gd name="connsiteY2" fmla="*/ 22311 h 1685925"/>
              <a:gd name="connsiteX3" fmla="*/ 3816000 w 3816000"/>
              <a:gd name="connsiteY3" fmla="*/ 1494616 h 1685925"/>
              <a:gd name="connsiteX4" fmla="*/ 3806340 w 3816000"/>
              <a:gd name="connsiteY4" fmla="*/ 1685925 h 1685925"/>
              <a:gd name="connsiteX5" fmla="*/ 9660 w 3816000"/>
              <a:gd name="connsiteY5" fmla="*/ 1685925 h 1685925"/>
              <a:gd name="connsiteX6" fmla="*/ 0 w 3816000"/>
              <a:gd name="connsiteY6" fmla="*/ 1494616 h 1685925"/>
              <a:gd name="connsiteX7" fmla="*/ 694335 w 3816000"/>
              <a:gd name="connsiteY7" fmla="*/ 22311 h 1685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6000" h="1685925">
                <a:moveTo>
                  <a:pt x="724171" y="0"/>
                </a:moveTo>
                <a:lnTo>
                  <a:pt x="3091830" y="0"/>
                </a:lnTo>
                <a:lnTo>
                  <a:pt x="3121665" y="22311"/>
                </a:lnTo>
                <a:cubicBezTo>
                  <a:pt x="3545713" y="372266"/>
                  <a:pt x="3816000" y="901877"/>
                  <a:pt x="3816000" y="1494616"/>
                </a:cubicBezTo>
                <a:lnTo>
                  <a:pt x="3806340" y="1685925"/>
                </a:lnTo>
                <a:lnTo>
                  <a:pt x="9660" y="1685925"/>
                </a:lnTo>
                <a:lnTo>
                  <a:pt x="0" y="1494616"/>
                </a:lnTo>
                <a:cubicBezTo>
                  <a:pt x="0" y="901877"/>
                  <a:pt x="270287" y="372266"/>
                  <a:pt x="694335" y="22311"/>
                </a:cubicBezTo>
                <a:close/>
              </a:path>
            </a:pathLst>
          </a:custGeom>
        </p:spPr>
        <p:txBody>
          <a:bodyPr wrap="square" anchor="b">
            <a:noAutofit/>
          </a:bodyPr>
          <a:lstStyle>
            <a:lvl1pPr algn="ctr">
              <a:defRPr sz="711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0" name="Subtitle 19">
            <a:extLst>
              <a:ext uri="{FF2B5EF4-FFF2-40B4-BE49-F238E27FC236}">
                <a16:creationId xmlns:a16="http://schemas.microsoft.com/office/drawing/2014/main" id="{0471CA37-3FF4-4B9F-BD4A-3A9B0845B3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78856" y="5344159"/>
            <a:ext cx="6599251" cy="1456265"/>
          </a:xfrm>
          <a:custGeom>
            <a:avLst/>
            <a:gdLst>
              <a:gd name="connsiteX0" fmla="*/ 0 w 3712441"/>
              <a:gd name="connsiteY0" fmla="*/ 0 h 819149"/>
              <a:gd name="connsiteX1" fmla="*/ 3712441 w 3712441"/>
              <a:gd name="connsiteY1" fmla="*/ 0 h 819149"/>
              <a:gd name="connsiteX2" fmla="*/ 3678440 w 3712441"/>
              <a:gd name="connsiteY2" fmla="*/ 132232 h 819149"/>
              <a:gd name="connsiteX3" fmla="*/ 3328526 w 3712441"/>
              <a:gd name="connsiteY3" fmla="*/ 778516 h 819149"/>
              <a:gd name="connsiteX4" fmla="*/ 3291596 w 3712441"/>
              <a:gd name="connsiteY4" fmla="*/ 819149 h 819149"/>
              <a:gd name="connsiteX5" fmla="*/ 420844 w 3712441"/>
              <a:gd name="connsiteY5" fmla="*/ 819149 h 819149"/>
              <a:gd name="connsiteX6" fmla="*/ 383915 w 3712441"/>
              <a:gd name="connsiteY6" fmla="*/ 778516 h 819149"/>
              <a:gd name="connsiteX7" fmla="*/ 34000 w 3712441"/>
              <a:gd name="connsiteY7" fmla="*/ 132232 h 81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12441" h="819149">
                <a:moveTo>
                  <a:pt x="0" y="0"/>
                </a:moveTo>
                <a:lnTo>
                  <a:pt x="3712441" y="0"/>
                </a:lnTo>
                <a:lnTo>
                  <a:pt x="3678440" y="132232"/>
                </a:lnTo>
                <a:cubicBezTo>
                  <a:pt x="3604110" y="371212"/>
                  <a:pt x="3484061" y="590050"/>
                  <a:pt x="3328526" y="778516"/>
                </a:cubicBezTo>
                <a:lnTo>
                  <a:pt x="3291596" y="819149"/>
                </a:lnTo>
                <a:lnTo>
                  <a:pt x="420844" y="819149"/>
                </a:lnTo>
                <a:lnTo>
                  <a:pt x="383915" y="778516"/>
                </a:lnTo>
                <a:cubicBezTo>
                  <a:pt x="228379" y="590050"/>
                  <a:pt x="108331" y="371212"/>
                  <a:pt x="34000" y="132232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3555">
                <a:solidFill>
                  <a:schemeClr val="tx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21A098C-3479-4000-B318-DC1A6E9320A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01019" y="585399"/>
            <a:ext cx="3079310" cy="566034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78">
                <a:solidFill>
                  <a:srgbClr val="000000"/>
                </a:solidFill>
              </a:defRPr>
            </a:lvl1pPr>
            <a:lvl2pPr>
              <a:defRPr sz="178">
                <a:solidFill>
                  <a:srgbClr val="000000"/>
                </a:solidFill>
              </a:defRPr>
            </a:lvl2pPr>
            <a:lvl3pPr>
              <a:defRPr sz="178">
                <a:solidFill>
                  <a:srgbClr val="000000"/>
                </a:solidFill>
              </a:defRPr>
            </a:lvl3pPr>
            <a:lvl4pPr>
              <a:defRPr sz="178">
                <a:solidFill>
                  <a:srgbClr val="000000"/>
                </a:solidFill>
              </a:defRPr>
            </a:lvl4pPr>
            <a:lvl5pPr>
              <a:defRPr sz="178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 </a:t>
            </a:r>
            <a:endParaRPr lang="nb-NO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E89F3164-0769-42D8-9284-F6DB9DB79E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64065" y="4987588"/>
            <a:ext cx="227603" cy="227625"/>
          </a:xfrm>
          <a:prstGeom prst="ellipse">
            <a:avLst/>
          </a:prstGeom>
          <a:solidFill>
            <a:schemeClr val="accent3"/>
          </a:solidFill>
        </p:spPr>
        <p:txBody>
          <a:bodyPr lIns="91440" tIns="45720" rIns="91440" bIns="45720"/>
          <a:lstStyle>
            <a:lvl1pPr marL="0" indent="0">
              <a:buNone/>
              <a:defRPr sz="178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32190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,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894A4-E35B-4F05-A789-372683A87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026" y="1608668"/>
            <a:ext cx="14019431" cy="1017808"/>
          </a:xfrm>
        </p:spPr>
        <p:txBody>
          <a:bodyPr anchor="b">
            <a:normAutofit/>
          </a:bodyPr>
          <a:lstStyle>
            <a:lvl1pPr>
              <a:defRPr sz="5333"/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39F905E-828D-46DC-A388-2E18975B2D4A}"/>
              </a:ext>
            </a:extLst>
          </p:cNvPr>
          <p:cNvGrpSpPr/>
          <p:nvPr userDrawn="1"/>
        </p:nvGrpSpPr>
        <p:grpSpPr>
          <a:xfrm>
            <a:off x="823729" y="1900769"/>
            <a:ext cx="191981" cy="482732"/>
            <a:chOff x="463393" y="716756"/>
            <a:chExt cx="108000" cy="27153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2605F88-0CF5-4AEE-ADBD-3E7D3E39E1BF}"/>
                </a:ext>
              </a:extLst>
            </p:cNvPr>
            <p:cNvSpPr/>
            <p:nvPr userDrawn="1"/>
          </p:nvSpPr>
          <p:spPr>
            <a:xfrm>
              <a:off x="463393" y="71675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A9089A1-39B7-41F4-838D-9CFCAAB66BFC}"/>
                </a:ext>
              </a:extLst>
            </p:cNvPr>
            <p:cNvSpPr/>
            <p:nvPr userDrawn="1"/>
          </p:nvSpPr>
          <p:spPr>
            <a:xfrm>
              <a:off x="463393" y="880293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A56F69B4-90D1-495B-9D4B-C732B2DA5D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2760" y="588801"/>
            <a:ext cx="3078099" cy="56588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5FDBEB9-3208-4597-9DDB-EAC4FBE006BC}"/>
              </a:ext>
            </a:extLst>
          </p:cNvPr>
          <p:cNvSpPr/>
          <p:nvPr userDrawn="1"/>
        </p:nvSpPr>
        <p:spPr>
          <a:xfrm>
            <a:off x="0" y="3068483"/>
            <a:ext cx="16239979" cy="607551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024"/>
          </a:p>
        </p:txBody>
      </p:sp>
    </p:spTree>
    <p:extLst>
      <p:ext uri="{BB962C8B-B14F-4D97-AF65-F5344CB8AC3E}">
        <p14:creationId xmlns:p14="http://schemas.microsoft.com/office/powerpoint/2010/main" val="21228745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,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894A4-E35B-4F05-A789-372683A87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026" y="1608668"/>
            <a:ext cx="14019431" cy="1017808"/>
          </a:xfrm>
        </p:spPr>
        <p:txBody>
          <a:bodyPr anchor="b">
            <a:normAutofit/>
          </a:bodyPr>
          <a:lstStyle>
            <a:lvl1pPr>
              <a:defRPr sz="5333"/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39F905E-828D-46DC-A388-2E18975B2D4A}"/>
              </a:ext>
            </a:extLst>
          </p:cNvPr>
          <p:cNvGrpSpPr/>
          <p:nvPr userDrawn="1"/>
        </p:nvGrpSpPr>
        <p:grpSpPr>
          <a:xfrm>
            <a:off x="823729" y="1900769"/>
            <a:ext cx="191981" cy="482732"/>
            <a:chOff x="463393" y="716756"/>
            <a:chExt cx="108000" cy="27153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2605F88-0CF5-4AEE-ADBD-3E7D3E39E1BF}"/>
                </a:ext>
              </a:extLst>
            </p:cNvPr>
            <p:cNvSpPr/>
            <p:nvPr userDrawn="1"/>
          </p:nvSpPr>
          <p:spPr>
            <a:xfrm>
              <a:off x="463393" y="71675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A9089A1-39B7-41F4-838D-9CFCAAB66BFC}"/>
                </a:ext>
              </a:extLst>
            </p:cNvPr>
            <p:cNvSpPr/>
            <p:nvPr userDrawn="1"/>
          </p:nvSpPr>
          <p:spPr>
            <a:xfrm>
              <a:off x="463393" y="880293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A56F69B4-90D1-495B-9D4B-C732B2DA5D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2760" y="588801"/>
            <a:ext cx="3078099" cy="56588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5FDBEB9-3208-4597-9DDB-EAC4FBE006BC}"/>
              </a:ext>
            </a:extLst>
          </p:cNvPr>
          <p:cNvSpPr/>
          <p:nvPr userDrawn="1"/>
        </p:nvSpPr>
        <p:spPr>
          <a:xfrm>
            <a:off x="0" y="3068483"/>
            <a:ext cx="16239979" cy="60755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024"/>
          </a:p>
        </p:txBody>
      </p:sp>
    </p:spTree>
    <p:extLst>
      <p:ext uri="{BB962C8B-B14F-4D97-AF65-F5344CB8AC3E}">
        <p14:creationId xmlns:p14="http://schemas.microsoft.com/office/powerpoint/2010/main" val="4629980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side m/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894A4-E35B-4F05-A789-372683A87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026" y="1608668"/>
            <a:ext cx="14019431" cy="1017808"/>
          </a:xfrm>
        </p:spPr>
        <p:txBody>
          <a:bodyPr anchor="b">
            <a:normAutofit/>
          </a:bodyPr>
          <a:lstStyle>
            <a:lvl1pPr>
              <a:defRPr sz="5333"/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39F905E-828D-46DC-A388-2E18975B2D4A}"/>
              </a:ext>
            </a:extLst>
          </p:cNvPr>
          <p:cNvGrpSpPr/>
          <p:nvPr userDrawn="1"/>
        </p:nvGrpSpPr>
        <p:grpSpPr>
          <a:xfrm>
            <a:off x="823729" y="1900769"/>
            <a:ext cx="191981" cy="482732"/>
            <a:chOff x="463393" y="716756"/>
            <a:chExt cx="108000" cy="27153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2605F88-0CF5-4AEE-ADBD-3E7D3E39E1BF}"/>
                </a:ext>
              </a:extLst>
            </p:cNvPr>
            <p:cNvSpPr/>
            <p:nvPr userDrawn="1"/>
          </p:nvSpPr>
          <p:spPr>
            <a:xfrm>
              <a:off x="463393" y="71675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A9089A1-39B7-41F4-838D-9CFCAAB66BFC}"/>
                </a:ext>
              </a:extLst>
            </p:cNvPr>
            <p:cNvSpPr/>
            <p:nvPr userDrawn="1"/>
          </p:nvSpPr>
          <p:spPr>
            <a:xfrm>
              <a:off x="463393" y="880293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A56F69B4-90D1-495B-9D4B-C732B2DA5D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2760" y="588801"/>
            <a:ext cx="3078099" cy="56588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24B61C-B081-4F37-B10B-7DD13E5455B1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3068483"/>
            <a:ext cx="16239979" cy="6075518"/>
          </a:xfrm>
          <a:blipFill>
            <a:blip r:embed="rId4"/>
            <a:stretch>
              <a:fillRect/>
            </a:stretch>
          </a:blipFill>
        </p:spPr>
        <p:txBody>
          <a:bodyPr lIns="91440" tIns="45720" rIns="91440" bIns="45720"/>
          <a:lstStyle/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17801611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2" y="1148716"/>
            <a:ext cx="11022524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A4513-C9E0-4C23-BF12-F6B3535F19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292AE5-9ED7-4053-9CAA-C396312C26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512512" y="1032930"/>
            <a:ext cx="2463759" cy="2464000"/>
          </a:xfrm>
          <a:prstGeom prst="ellipse">
            <a:avLst/>
          </a:prstGeom>
          <a:solidFill>
            <a:schemeClr val="accent3"/>
          </a:solidFill>
        </p:spPr>
        <p:txBody>
          <a:bodyPr lIns="36000" rIns="36000" anchor="ctr">
            <a:normAutofit/>
          </a:bodyPr>
          <a:lstStyle>
            <a:lvl1pPr marL="0" marR="0" indent="0" algn="ctr" defTabSz="1219078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rgbClr val="9EA0A4"/>
              </a:buClr>
              <a:buSzTx/>
              <a:buFont typeface="Calibri" panose="020F0502020204030204" pitchFamily="34" charset="0"/>
              <a:buNone/>
              <a:tabLst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akta </a:t>
            </a:r>
            <a:br>
              <a:rPr lang="nb-NO"/>
            </a:br>
            <a:r>
              <a:rPr lang="nb-NO"/>
              <a:t>eller sitat</a:t>
            </a:r>
          </a:p>
        </p:txBody>
      </p:sp>
    </p:spTree>
    <p:extLst>
      <p:ext uri="{BB962C8B-B14F-4D97-AF65-F5344CB8AC3E}">
        <p14:creationId xmlns:p14="http://schemas.microsoft.com/office/powerpoint/2010/main" val="4105440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14019431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A4513-C9E0-4C23-BF12-F6B3535F190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 marL="0" indent="0">
              <a:buNone/>
              <a:defRPr sz="2844"/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60746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7"/>
            <a:ext cx="14019431" cy="101875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A4513-C9E0-4C23-BF12-F6B3535F190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7491" y="2641602"/>
            <a:ext cx="14019431" cy="5594350"/>
          </a:xfrm>
        </p:spPr>
        <p:txBody>
          <a:bodyPr>
            <a:normAutofit/>
          </a:bodyPr>
          <a:lstStyle>
            <a:lvl1pPr marL="0" indent="0">
              <a:buNone/>
              <a:defRPr sz="2844"/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19729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14019431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A4513-C9E0-4C23-BF12-F6B3535F190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7491" y="4018845"/>
            <a:ext cx="6716233" cy="4003324"/>
          </a:xfrm>
        </p:spPr>
        <p:txBody>
          <a:bodyPr>
            <a:normAutofit/>
          </a:bodyPr>
          <a:lstStyle>
            <a:lvl1pPr marL="0" indent="0">
              <a:buNone/>
              <a:defRPr sz="2844"/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C539624-4BC5-4E18-AB23-CFAA95ED039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17491" y="3414888"/>
            <a:ext cx="6716233" cy="603956"/>
          </a:xfrm>
        </p:spPr>
        <p:txBody>
          <a:bodyPr>
            <a:normAutofit/>
          </a:bodyPr>
          <a:lstStyle>
            <a:lvl1pPr marL="0" indent="0">
              <a:buNone/>
              <a:defRPr sz="2844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54A84BB-52FA-4019-80B2-F183257E32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62664" y="3513665"/>
            <a:ext cx="6874262" cy="4508503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5B70029-97B2-48FF-8B35-4FE4085D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273878" y="1405463"/>
            <a:ext cx="2483304" cy="2483986"/>
          </a:xfrm>
          <a:custGeom>
            <a:avLst/>
            <a:gdLst>
              <a:gd name="connsiteX0" fmla="*/ 698006 w 1396995"/>
              <a:gd name="connsiteY0" fmla="*/ 0 h 1397242"/>
              <a:gd name="connsiteX1" fmla="*/ 1192182 w 1396995"/>
              <a:gd name="connsiteY1" fmla="*/ 204813 h 1397242"/>
              <a:gd name="connsiteX2" fmla="*/ 1192182 w 1396995"/>
              <a:gd name="connsiteY2" fmla="*/ 1192216 h 1397242"/>
              <a:gd name="connsiteX3" fmla="*/ 326150 w 1396995"/>
              <a:gd name="connsiteY3" fmla="*/ 1290830 h 1397242"/>
              <a:gd name="connsiteX4" fmla="*/ 44216 w 1396995"/>
              <a:gd name="connsiteY4" fmla="*/ 1384386 h 1397242"/>
              <a:gd name="connsiteX5" fmla="*/ 12609 w 1396995"/>
              <a:gd name="connsiteY5" fmla="*/ 1352779 h 1397242"/>
              <a:gd name="connsiteX6" fmla="*/ 107430 w 1396995"/>
              <a:gd name="connsiteY6" fmla="*/ 1070845 h 1397242"/>
              <a:gd name="connsiteX7" fmla="*/ 204779 w 1396995"/>
              <a:gd name="connsiteY7" fmla="*/ 204813 h 1397242"/>
              <a:gd name="connsiteX8" fmla="*/ 698006 w 1396995"/>
              <a:gd name="connsiteY8" fmla="*/ 0 h 1397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96995" h="1397242">
                <a:moveTo>
                  <a:pt x="698006" y="0"/>
                </a:moveTo>
                <a:cubicBezTo>
                  <a:pt x="876744" y="0"/>
                  <a:pt x="1055639" y="68271"/>
                  <a:pt x="1192182" y="204813"/>
                </a:cubicBezTo>
                <a:cubicBezTo>
                  <a:pt x="1465266" y="476633"/>
                  <a:pt x="1465266" y="919132"/>
                  <a:pt x="1192182" y="1192216"/>
                </a:cubicBezTo>
                <a:cubicBezTo>
                  <a:pt x="957026" y="1427372"/>
                  <a:pt x="596707" y="1460243"/>
                  <a:pt x="326150" y="1290830"/>
                </a:cubicBezTo>
                <a:lnTo>
                  <a:pt x="44216" y="1384386"/>
                </a:lnTo>
                <a:cubicBezTo>
                  <a:pt x="-2562" y="1399558"/>
                  <a:pt x="12609" y="1352779"/>
                  <a:pt x="12609" y="1352779"/>
                </a:cubicBezTo>
                <a:lnTo>
                  <a:pt x="107430" y="1070845"/>
                </a:lnTo>
                <a:cubicBezTo>
                  <a:pt x="-63248" y="800290"/>
                  <a:pt x="-30377" y="439969"/>
                  <a:pt x="204779" y="204813"/>
                </a:cubicBezTo>
                <a:cubicBezTo>
                  <a:pt x="340690" y="68271"/>
                  <a:pt x="519269" y="0"/>
                  <a:pt x="698006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akta </a:t>
            </a:r>
            <a:br>
              <a:rPr lang="nb-NO"/>
            </a:br>
            <a:r>
              <a:rPr lang="nb-NO"/>
              <a:t>eller sitat</a:t>
            </a:r>
          </a:p>
        </p:txBody>
      </p:sp>
    </p:spTree>
    <p:extLst>
      <p:ext uri="{BB962C8B-B14F-4D97-AF65-F5344CB8AC3E}">
        <p14:creationId xmlns:p14="http://schemas.microsoft.com/office/powerpoint/2010/main" val="23853702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14019431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54A84BB-52FA-4019-80B2-F183257E32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17491" y="3513665"/>
            <a:ext cx="6874262" cy="4508503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F34C56A-CCE3-4FC2-A453-03DAC7CA1AD7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285236" y="4018845"/>
            <a:ext cx="6716233" cy="4003324"/>
          </a:xfrm>
        </p:spPr>
        <p:txBody>
          <a:bodyPr>
            <a:normAutofit/>
          </a:bodyPr>
          <a:lstStyle>
            <a:lvl1pPr marL="0" indent="0">
              <a:buNone/>
              <a:defRPr sz="2844"/>
            </a:lvl1pPr>
          </a:lstStyle>
          <a:p>
            <a:pPr lvl="0"/>
            <a:r>
              <a:rPr lang="nb-NO"/>
              <a:t>Teks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1309E19-68DD-4B80-A5B0-4967F83E311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285236" y="3414888"/>
            <a:ext cx="6716233" cy="603956"/>
          </a:xfrm>
        </p:spPr>
        <p:txBody>
          <a:bodyPr>
            <a:normAutofit/>
          </a:bodyPr>
          <a:lstStyle>
            <a:lvl1pPr marL="0" indent="0">
              <a:buNone/>
              <a:defRPr sz="2844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40600271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14019431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54A84BB-52FA-4019-80B2-F183257E32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17491" y="3009902"/>
            <a:ext cx="6874262" cy="501226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4D5E6981-9F9E-41C9-AF72-3EBD09D8AF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62664" y="3009900"/>
            <a:ext cx="6874262" cy="501226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644921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6422751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54A84BB-52FA-4019-80B2-F183257E32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62663" y="1264356"/>
            <a:ext cx="6874259" cy="6757812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039A3EB-DF0E-40F3-A16E-F14863F1C8C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17491" y="3409243"/>
            <a:ext cx="6422751" cy="4826708"/>
          </a:xfrm>
        </p:spPr>
        <p:txBody>
          <a:bodyPr>
            <a:normAutofit/>
          </a:bodyPr>
          <a:lstStyle>
            <a:lvl1pPr marL="0" indent="0">
              <a:buNone/>
              <a:defRPr sz="2844"/>
            </a:lvl1pPr>
          </a:lstStyle>
          <a:p>
            <a:pPr lvl="0"/>
            <a:r>
              <a:rPr lang="nb-NO"/>
              <a:t>Tekst</a:t>
            </a:r>
          </a:p>
        </p:txBody>
      </p:sp>
    </p:spTree>
    <p:extLst>
      <p:ext uri="{BB962C8B-B14F-4D97-AF65-F5344CB8AC3E}">
        <p14:creationId xmlns:p14="http://schemas.microsoft.com/office/powerpoint/2010/main" val="33870396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6422751" cy="1543684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54A84BB-52FA-4019-80B2-F183257E32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655671" y="3048001"/>
            <a:ext cx="4481251" cy="497416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id="{1024C46D-29F5-451D-BAA0-6C1F9666916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117493" y="3048001"/>
            <a:ext cx="4481251" cy="497416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9733E6BA-CB2B-4413-ADB8-22B4A0A89AB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886581" y="3048001"/>
            <a:ext cx="4481251" cy="497416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135357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e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869DB83-86B0-444D-905A-95A3086126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17491" y="2692401"/>
            <a:ext cx="14019435" cy="5329765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24C29F-3FFC-434F-AFEF-304203F92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7"/>
            <a:ext cx="13883978" cy="101875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62BB1D-7AD2-44EB-9403-5A31032B9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E044-7C22-4ECD-BC2B-58D4480D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892C1-25F1-45A2-AB15-D8E34163A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3179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DBE2BB-0C16-4170-BBF2-8CB1F0D97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5D91D0-FD0E-477E-9612-0F8EB0679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62617B-307A-40CD-80ED-C795F7395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657ED2-0634-452E-AC28-6B07AFE45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8498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96D66E-BB54-45D9-8144-18C805DB11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5A886-94F8-4733-A9BF-6EF015D9A515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3C793BF-B3BC-445A-A86C-4209A71FB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024049-4E8D-43EF-9E21-9FBA81457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A9AF2-B8B5-401C-8821-05C8E0B7DA1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3133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isteside, gu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56D82-4881-45E7-9404-83B85375F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7526" y="3048000"/>
            <a:ext cx="11825085" cy="2207684"/>
          </a:xfrm>
        </p:spPr>
        <p:txBody>
          <a:bodyPr anchor="b">
            <a:norm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826A66-072D-4B53-BB9C-4B48B2EA17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7526" y="5511796"/>
            <a:ext cx="11825085" cy="1456265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A255023-92A0-4F3D-9511-51B4D172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1017" y="585364"/>
            <a:ext cx="3079310" cy="56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8383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isteside, gr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56D82-4881-45E7-9404-83B85375F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7526" y="3048000"/>
            <a:ext cx="11825085" cy="2207684"/>
          </a:xfrm>
        </p:spPr>
        <p:txBody>
          <a:bodyPr anchor="b">
            <a:norm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826A66-072D-4B53-BB9C-4B48B2EA17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7526" y="5511796"/>
            <a:ext cx="11825085" cy="1456265"/>
          </a:xfrm>
        </p:spPr>
        <p:txBody>
          <a:bodyPr>
            <a:normAutofit/>
          </a:bodyPr>
          <a:lstStyle>
            <a:lvl1pPr marL="0" indent="0" algn="ctr">
              <a:buNone/>
              <a:defRPr sz="3200" b="1">
                <a:solidFill>
                  <a:schemeClr val="bg1"/>
                </a:solidFill>
              </a:defRPr>
            </a:lvl1pPr>
            <a:lvl2pPr marL="609539" indent="0" algn="ctr">
              <a:buNone/>
              <a:defRPr sz="2666"/>
            </a:lvl2pPr>
            <a:lvl3pPr marL="1219078" indent="0" algn="ctr">
              <a:buNone/>
              <a:defRPr sz="2400"/>
            </a:lvl3pPr>
            <a:lvl4pPr marL="1828617" indent="0" algn="ctr">
              <a:buNone/>
              <a:defRPr sz="2133"/>
            </a:lvl4pPr>
            <a:lvl5pPr marL="2438156" indent="0" algn="ctr">
              <a:buNone/>
              <a:defRPr sz="2133"/>
            </a:lvl5pPr>
            <a:lvl6pPr marL="3047695" indent="0" algn="ctr">
              <a:buNone/>
              <a:defRPr sz="2133"/>
            </a:lvl6pPr>
            <a:lvl7pPr marL="3657234" indent="0" algn="ctr">
              <a:buNone/>
              <a:defRPr sz="2133"/>
            </a:lvl7pPr>
            <a:lvl8pPr marL="4266773" indent="0" algn="ctr">
              <a:buNone/>
              <a:defRPr sz="2133"/>
            </a:lvl8pPr>
            <a:lvl9pPr marL="4876312" indent="0" algn="ctr">
              <a:buNone/>
              <a:defRPr sz="2133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4A859D4-93B5-4482-9378-55C245F30E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701017" y="585364"/>
            <a:ext cx="3079310" cy="56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8739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EC8570-F3F0-42D9-9993-65310B4BF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82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EC8570-F3F0-42D9-9993-65310B4BF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1600" y="590400"/>
            <a:ext cx="14244275" cy="122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1600" y="2466000"/>
            <a:ext cx="14244275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8EC8570-F3F0-42D9-9993-65310B4BF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827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8EC8570-F3F0-42D9-9993-65310B4BF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1600" y="590400"/>
            <a:ext cx="14244275" cy="122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1600" y="2466000"/>
            <a:ext cx="14244275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64231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682023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64231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682023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10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120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10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50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90.xml"/><Relationship Id="rId14" Type="http://schemas.openxmlformats.org/officeDocument/2006/relationships/vmlDrawing" Target="../drawings/vmlDrawing15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6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image" Target="../media/image17.svg"/><Relationship Id="rId39" Type="http://schemas.openxmlformats.org/officeDocument/2006/relationships/image" Target="../media/image30.png"/><Relationship Id="rId21" Type="http://schemas.openxmlformats.org/officeDocument/2006/relationships/image" Target="../media/image12.png"/><Relationship Id="rId34" Type="http://schemas.openxmlformats.org/officeDocument/2006/relationships/image" Target="../media/image25.svg"/><Relationship Id="rId42" Type="http://schemas.openxmlformats.org/officeDocument/2006/relationships/image" Target="../media/image33.svg"/><Relationship Id="rId47" Type="http://schemas.openxmlformats.org/officeDocument/2006/relationships/image" Target="../media/image38.png"/><Relationship Id="rId50" Type="http://schemas.openxmlformats.org/officeDocument/2006/relationships/image" Target="../media/image41.svg"/><Relationship Id="rId55" Type="http://schemas.openxmlformats.org/officeDocument/2006/relationships/image" Target="../media/image46.png"/><Relationship Id="rId63" Type="http://schemas.openxmlformats.org/officeDocument/2006/relationships/image" Target="../media/image54.png"/><Relationship Id="rId68" Type="http://schemas.openxmlformats.org/officeDocument/2006/relationships/image" Target="../media/image59.svg"/><Relationship Id="rId76" Type="http://schemas.openxmlformats.org/officeDocument/2006/relationships/image" Target="../media/image67.svg"/><Relationship Id="rId7" Type="http://schemas.openxmlformats.org/officeDocument/2006/relationships/slideLayout" Target="../slideLayouts/slideLayout22.xml"/><Relationship Id="rId71" Type="http://schemas.openxmlformats.org/officeDocument/2006/relationships/image" Target="../media/image62.pn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image" Target="../media/image20.png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15.svg"/><Relationship Id="rId32" Type="http://schemas.openxmlformats.org/officeDocument/2006/relationships/image" Target="../media/image23.svg"/><Relationship Id="rId37" Type="http://schemas.openxmlformats.org/officeDocument/2006/relationships/image" Target="../media/image28.png"/><Relationship Id="rId40" Type="http://schemas.openxmlformats.org/officeDocument/2006/relationships/image" Target="../media/image31.svg"/><Relationship Id="rId45" Type="http://schemas.openxmlformats.org/officeDocument/2006/relationships/image" Target="../media/image36.png"/><Relationship Id="rId53" Type="http://schemas.openxmlformats.org/officeDocument/2006/relationships/image" Target="../media/image44.png"/><Relationship Id="rId58" Type="http://schemas.openxmlformats.org/officeDocument/2006/relationships/image" Target="../media/image49.svg"/><Relationship Id="rId66" Type="http://schemas.openxmlformats.org/officeDocument/2006/relationships/image" Target="../media/image57.svg"/><Relationship Id="rId74" Type="http://schemas.openxmlformats.org/officeDocument/2006/relationships/image" Target="../media/image65.svg"/><Relationship Id="rId79" Type="http://schemas.openxmlformats.org/officeDocument/2006/relationships/image" Target="../media/image70.png"/><Relationship Id="rId5" Type="http://schemas.openxmlformats.org/officeDocument/2006/relationships/slideLayout" Target="../slideLayouts/slideLayout20.xml"/><Relationship Id="rId61" Type="http://schemas.openxmlformats.org/officeDocument/2006/relationships/image" Target="../media/image52.png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image" Target="../media/image22.png"/><Relationship Id="rId44" Type="http://schemas.openxmlformats.org/officeDocument/2006/relationships/image" Target="../media/image35.svg"/><Relationship Id="rId52" Type="http://schemas.openxmlformats.org/officeDocument/2006/relationships/image" Target="../media/image43.svg"/><Relationship Id="rId60" Type="http://schemas.openxmlformats.org/officeDocument/2006/relationships/image" Target="../media/image51.svg"/><Relationship Id="rId65" Type="http://schemas.openxmlformats.org/officeDocument/2006/relationships/image" Target="../media/image56.png"/><Relationship Id="rId73" Type="http://schemas.openxmlformats.org/officeDocument/2006/relationships/image" Target="../media/image64.png"/><Relationship Id="rId78" Type="http://schemas.openxmlformats.org/officeDocument/2006/relationships/image" Target="../media/image69.sv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13.svg"/><Relationship Id="rId27" Type="http://schemas.openxmlformats.org/officeDocument/2006/relationships/image" Target="../media/image18.png"/><Relationship Id="rId30" Type="http://schemas.openxmlformats.org/officeDocument/2006/relationships/image" Target="../media/image21.svg"/><Relationship Id="rId35" Type="http://schemas.openxmlformats.org/officeDocument/2006/relationships/image" Target="../media/image26.png"/><Relationship Id="rId43" Type="http://schemas.openxmlformats.org/officeDocument/2006/relationships/image" Target="../media/image34.png"/><Relationship Id="rId48" Type="http://schemas.openxmlformats.org/officeDocument/2006/relationships/image" Target="../media/image39.svg"/><Relationship Id="rId56" Type="http://schemas.openxmlformats.org/officeDocument/2006/relationships/image" Target="../media/image47.svg"/><Relationship Id="rId64" Type="http://schemas.openxmlformats.org/officeDocument/2006/relationships/image" Target="../media/image55.svg"/><Relationship Id="rId69" Type="http://schemas.openxmlformats.org/officeDocument/2006/relationships/image" Target="../media/image60.png"/><Relationship Id="rId77" Type="http://schemas.openxmlformats.org/officeDocument/2006/relationships/image" Target="../media/image68.png"/><Relationship Id="rId8" Type="http://schemas.openxmlformats.org/officeDocument/2006/relationships/slideLayout" Target="../slideLayouts/slideLayout23.xml"/><Relationship Id="rId51" Type="http://schemas.openxmlformats.org/officeDocument/2006/relationships/image" Target="../media/image42.png"/><Relationship Id="rId72" Type="http://schemas.openxmlformats.org/officeDocument/2006/relationships/image" Target="../media/image63.svg"/><Relationship Id="rId80" Type="http://schemas.openxmlformats.org/officeDocument/2006/relationships/image" Target="../media/image71.svg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image" Target="../media/image16.png"/><Relationship Id="rId33" Type="http://schemas.openxmlformats.org/officeDocument/2006/relationships/image" Target="../media/image24.png"/><Relationship Id="rId38" Type="http://schemas.openxmlformats.org/officeDocument/2006/relationships/image" Target="../media/image29.svg"/><Relationship Id="rId46" Type="http://schemas.openxmlformats.org/officeDocument/2006/relationships/image" Target="../media/image37.svg"/><Relationship Id="rId59" Type="http://schemas.openxmlformats.org/officeDocument/2006/relationships/image" Target="../media/image50.png"/><Relationship Id="rId67" Type="http://schemas.openxmlformats.org/officeDocument/2006/relationships/image" Target="../media/image58.png"/><Relationship Id="rId20" Type="http://schemas.openxmlformats.org/officeDocument/2006/relationships/theme" Target="../theme/theme4.xml"/><Relationship Id="rId41" Type="http://schemas.openxmlformats.org/officeDocument/2006/relationships/image" Target="../media/image32.png"/><Relationship Id="rId54" Type="http://schemas.openxmlformats.org/officeDocument/2006/relationships/image" Target="../media/image45.svg"/><Relationship Id="rId62" Type="http://schemas.openxmlformats.org/officeDocument/2006/relationships/image" Target="../media/image53.svg"/><Relationship Id="rId70" Type="http://schemas.openxmlformats.org/officeDocument/2006/relationships/image" Target="../media/image61.svg"/><Relationship Id="rId75" Type="http://schemas.openxmlformats.org/officeDocument/2006/relationships/image" Target="../media/image6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14.png"/><Relationship Id="rId28" Type="http://schemas.openxmlformats.org/officeDocument/2006/relationships/image" Target="../media/image19.svg"/><Relationship Id="rId36" Type="http://schemas.openxmlformats.org/officeDocument/2006/relationships/image" Target="../media/image27.svg"/><Relationship Id="rId49" Type="http://schemas.openxmlformats.org/officeDocument/2006/relationships/image" Target="../media/image40.png"/><Relationship Id="rId57" Type="http://schemas.openxmlformats.org/officeDocument/2006/relationships/image" Target="../media/image4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5C46D-B0DD-4DDF-BD5D-842FAA6336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4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5C46D-B0DD-4DDF-BD5D-842FAA633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010570" y="590616"/>
            <a:ext cx="14245305" cy="12254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11600" y="2466431"/>
            <a:ext cx="14244275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65" y="8341514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4429862" y="8691000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3" r:id="rId3"/>
    <p:sldLayoutId id="2147483721" r:id="rId4"/>
    <p:sldLayoutId id="2147483720" r:id="rId5"/>
    <p:sldLayoutId id="2147483719" r:id="rId6"/>
    <p:sldLayoutId id="2147483650" r:id="rId7"/>
    <p:sldLayoutId id="2147483652" r:id="rId8"/>
    <p:sldLayoutId id="2147483657" r:id="rId9"/>
    <p:sldLayoutId id="2147483671" r:id="rId10"/>
    <p:sldLayoutId id="2147483722" r:id="rId11"/>
    <p:sldLayoutId id="2147483724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5119" userDrawn="1">
          <p15:clr>
            <a:srgbClr val="F26B43"/>
          </p15:clr>
        </p15:guide>
        <p15:guide id="3" pos="629" userDrawn="1">
          <p15:clr>
            <a:srgbClr val="F26B43"/>
          </p15:clr>
        </p15:guide>
        <p15:guide id="4" pos="9610" userDrawn="1">
          <p15:clr>
            <a:srgbClr val="F26B43"/>
          </p15:clr>
        </p15:guide>
        <p15:guide id="5" orient="horz" pos="5193" userDrawn="1">
          <p15:clr>
            <a:srgbClr val="F26B43"/>
          </p15:clr>
        </p15:guide>
        <p15:guide id="6" orient="horz" pos="1542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C5C46D-B0DD-4DDF-BD5D-842FAA6336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4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6" imgW="473" imgH="476" progId="TCLayout.ActiveDocument.1">
                  <p:embed/>
                </p:oleObj>
              </mc:Choice>
              <mc:Fallback>
                <p:oleObj name="think-cell Slide" r:id="rId16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C5C46D-B0DD-4DDF-BD5D-842FAA633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010570" y="590616"/>
            <a:ext cx="14245305" cy="12254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11600" y="2466431"/>
            <a:ext cx="14244275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65" y="8341514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4429862" y="8691000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3" r:id="rId3"/>
    <p:sldLayoutId id="2147483721" r:id="rId4"/>
    <p:sldLayoutId id="2147483720" r:id="rId5"/>
    <p:sldLayoutId id="2147483719" r:id="rId6"/>
    <p:sldLayoutId id="2147483650" r:id="rId7"/>
    <p:sldLayoutId id="2147483652" r:id="rId8"/>
    <p:sldLayoutId id="2147483657" r:id="rId9"/>
    <p:sldLayoutId id="2147483671" r:id="rId10"/>
    <p:sldLayoutId id="2147483722" r:id="rId11"/>
    <p:sldLayoutId id="2147483724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5119" userDrawn="1">
          <p15:clr>
            <a:srgbClr val="F26B43"/>
          </p15:clr>
        </p15:guide>
        <p15:guide id="3" pos="629" userDrawn="1">
          <p15:clr>
            <a:srgbClr val="F26B43"/>
          </p15:clr>
        </p15:guide>
        <p15:guide id="4" pos="9610" userDrawn="1">
          <p15:clr>
            <a:srgbClr val="F26B43"/>
          </p15:clr>
        </p15:guide>
        <p15:guide id="5" orient="horz" pos="5193" userDrawn="1">
          <p15:clr>
            <a:srgbClr val="F26B43"/>
          </p15:clr>
        </p15:guide>
        <p15:guide id="6" orient="horz" pos="154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92CA98-C0F7-4974-A888-ECB21268BD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92CA98-C0F7-4974-A888-ECB21268BD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3" y="1480957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3" y="2453732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7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/>
        </p:nvSpPr>
        <p:spPr>
          <a:xfrm>
            <a:off x="13816252" y="754066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01845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3" r:id="rId2"/>
    <p:sldLayoutId id="2147483672" r:id="rId3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C81F01-AF3D-4E4C-A16A-BFCCA944C0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C81F01-AF3D-4E4C-A16A-BFCCA944C0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3" y="1480957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3" y="2453732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7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3816252" y="754066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C82819C1-B131-4BCC-8B6D-E2B85E0D4B94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2995064" y="8382004"/>
            <a:ext cx="1976774" cy="363413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0516ED1-75A6-4C78-9EB5-A2CD2F170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1148716"/>
            <a:ext cx="14019431" cy="154368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96AA7E-EC5C-4BAE-8621-66734DF49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7491" y="3409243"/>
            <a:ext cx="14019431" cy="4826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323698-FBD5-4596-9D7B-EDEEBB15E1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67256" y="8339667"/>
            <a:ext cx="3657243" cy="4868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55">
                <a:solidFill>
                  <a:schemeClr val="tx1"/>
                </a:solidFill>
              </a:defRPr>
            </a:lvl1pPr>
          </a:lstStyle>
          <a:p>
            <a:fld id="{0DD5A886-94F8-4733-A9BF-6EF015D9A515}" type="datetimeFigureOut">
              <a:rPr lang="nb-NO" smtClean="0"/>
              <a:pPr/>
              <a:t>02.12.2020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5FD3E-E6EA-46DD-93BF-865B7DC4C0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1802" y="8339667"/>
            <a:ext cx="6874262" cy="4868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55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578532-F40B-4D25-9BEA-4B65373DB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492" y="8339667"/>
            <a:ext cx="660336" cy="48683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55">
                <a:solidFill>
                  <a:schemeClr val="tx1"/>
                </a:solidFill>
              </a:defRPr>
            </a:lvl1pPr>
          </a:lstStyle>
          <a:p>
            <a:fld id="{E2AA9AF2-B8B5-401C-8821-05C8E0B7DA12}" type="slidenum">
              <a:rPr lang="nb-NO" smtClean="0"/>
              <a:pPr/>
              <a:t>‹#›</a:t>
            </a:fld>
            <a:endParaRPr lang="nb-NO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26110E3-1672-4F07-BE16-97A966CFC94A}"/>
              </a:ext>
            </a:extLst>
          </p:cNvPr>
          <p:cNvGrpSpPr/>
          <p:nvPr userDrawn="1"/>
        </p:nvGrpSpPr>
        <p:grpSpPr>
          <a:xfrm>
            <a:off x="823729" y="1274234"/>
            <a:ext cx="191981" cy="482732"/>
            <a:chOff x="463393" y="716756"/>
            <a:chExt cx="108000" cy="27153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8051A7D-19D2-43D2-B3C7-9293D6243092}"/>
                </a:ext>
              </a:extLst>
            </p:cNvPr>
            <p:cNvSpPr/>
            <p:nvPr userDrawn="1"/>
          </p:nvSpPr>
          <p:spPr>
            <a:xfrm>
              <a:off x="463393" y="71675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D51CF61-2501-4939-9653-03822F62935E}"/>
                </a:ext>
              </a:extLst>
            </p:cNvPr>
            <p:cNvSpPr/>
            <p:nvPr userDrawn="1"/>
          </p:nvSpPr>
          <p:spPr>
            <a:xfrm>
              <a:off x="463393" y="880293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4024"/>
            </a:p>
          </p:txBody>
        </p:sp>
      </p:grpSp>
      <p:pic>
        <p:nvPicPr>
          <p:cNvPr id="12" name="i1" hidden="1">
            <a:extLst>
              <a:ext uri="{FF2B5EF4-FFF2-40B4-BE49-F238E27FC236}">
                <a16:creationId xmlns:a16="http://schemas.microsoft.com/office/drawing/2014/main" id="{3D6E25C8-FF29-4D0E-8D24-36173177C92A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449940" y="3794478"/>
            <a:ext cx="1354534" cy="1557867"/>
          </a:xfrm>
          <a:prstGeom prst="rect">
            <a:avLst/>
          </a:prstGeom>
        </p:spPr>
      </p:pic>
      <p:pic>
        <p:nvPicPr>
          <p:cNvPr id="13" name="i2" hidden="1">
            <a:extLst>
              <a:ext uri="{FF2B5EF4-FFF2-40B4-BE49-F238E27FC236}">
                <a16:creationId xmlns:a16="http://schemas.microsoft.com/office/drawing/2014/main" id="{FAA33AC9-C56B-4614-BAE3-18D70CA44AB0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399145" y="3743678"/>
            <a:ext cx="1456124" cy="1659467"/>
          </a:xfrm>
          <a:prstGeom prst="rect">
            <a:avLst/>
          </a:prstGeom>
        </p:spPr>
      </p:pic>
      <p:pic>
        <p:nvPicPr>
          <p:cNvPr id="15" name="i3" hidden="1">
            <a:extLst>
              <a:ext uri="{FF2B5EF4-FFF2-40B4-BE49-F238E27FC236}">
                <a16:creationId xmlns:a16="http://schemas.microsoft.com/office/drawing/2014/main" id="{7C54F99B-5A6E-4BAD-8AB2-FFFD135F6A23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391711" y="3743678"/>
            <a:ext cx="3470994" cy="1659467"/>
          </a:xfrm>
          <a:prstGeom prst="rect">
            <a:avLst/>
          </a:prstGeom>
        </p:spPr>
      </p:pic>
      <p:pic>
        <p:nvPicPr>
          <p:cNvPr id="16" name="i4" hidden="1">
            <a:extLst>
              <a:ext uri="{FF2B5EF4-FFF2-40B4-BE49-F238E27FC236}">
                <a16:creationId xmlns:a16="http://schemas.microsoft.com/office/drawing/2014/main" id="{2CA1F26E-49DB-4898-BE0F-BFC99D5080DF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966357" y="3845278"/>
            <a:ext cx="321702" cy="1456267"/>
          </a:xfrm>
          <a:prstGeom prst="rect">
            <a:avLst/>
          </a:prstGeom>
        </p:spPr>
      </p:pic>
      <p:pic>
        <p:nvPicPr>
          <p:cNvPr id="17" name="i5" hidden="1">
            <a:extLst>
              <a:ext uri="{FF2B5EF4-FFF2-40B4-BE49-F238E27FC236}">
                <a16:creationId xmlns:a16="http://schemas.microsoft.com/office/drawing/2014/main" id="{13E867A2-A93D-49EC-90F1-6B8DC4C8FFFF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449940" y="3896078"/>
            <a:ext cx="1354534" cy="1354667"/>
          </a:xfrm>
          <a:prstGeom prst="rect">
            <a:avLst/>
          </a:prstGeom>
        </p:spPr>
      </p:pic>
      <p:pic>
        <p:nvPicPr>
          <p:cNvPr id="18" name="i6" hidden="1">
            <a:extLst>
              <a:ext uri="{FF2B5EF4-FFF2-40B4-BE49-F238E27FC236}">
                <a16:creationId xmlns:a16="http://schemas.microsoft.com/office/drawing/2014/main" id="{85FB50B8-82CA-4E40-9A15-F520827578A1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449940" y="3896078"/>
            <a:ext cx="1354534" cy="1354667"/>
          </a:xfrm>
          <a:prstGeom prst="rect">
            <a:avLst/>
          </a:prstGeom>
        </p:spPr>
      </p:pic>
      <p:pic>
        <p:nvPicPr>
          <p:cNvPr id="19" name="i7" hidden="1">
            <a:extLst>
              <a:ext uri="{FF2B5EF4-FFF2-40B4-BE49-F238E27FC236}">
                <a16:creationId xmlns:a16="http://schemas.microsoft.com/office/drawing/2014/main" id="{A81E4D2C-C9CB-4CC6-AC93-E38550634E13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449940" y="3896078"/>
            <a:ext cx="1354534" cy="1354667"/>
          </a:xfrm>
          <a:prstGeom prst="rect">
            <a:avLst/>
          </a:prstGeom>
        </p:spPr>
      </p:pic>
      <p:pic>
        <p:nvPicPr>
          <p:cNvPr id="20" name="i8" hidden="1">
            <a:extLst>
              <a:ext uri="{FF2B5EF4-FFF2-40B4-BE49-F238E27FC236}">
                <a16:creationId xmlns:a16="http://schemas.microsoft.com/office/drawing/2014/main" id="{EC8192DD-CF68-4AD2-B1DE-F0E27C48C88A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7272158" y="4099278"/>
            <a:ext cx="1710100" cy="948267"/>
          </a:xfrm>
          <a:prstGeom prst="rect">
            <a:avLst/>
          </a:prstGeom>
        </p:spPr>
      </p:pic>
      <p:pic>
        <p:nvPicPr>
          <p:cNvPr id="21" name="i9" hidden="1">
            <a:extLst>
              <a:ext uri="{FF2B5EF4-FFF2-40B4-BE49-F238E27FC236}">
                <a16:creationId xmlns:a16="http://schemas.microsoft.com/office/drawing/2014/main" id="{B5D4D0D5-2AA8-4F95-87BD-C85CDB1D9155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7382213" y="4124680"/>
            <a:ext cx="1489988" cy="897467"/>
          </a:xfrm>
          <a:prstGeom prst="rect">
            <a:avLst/>
          </a:prstGeom>
        </p:spPr>
      </p:pic>
      <p:grpSp>
        <p:nvGrpSpPr>
          <p:cNvPr id="22" name="i10" hidden="1">
            <a:extLst>
              <a:ext uri="{FF2B5EF4-FFF2-40B4-BE49-F238E27FC236}">
                <a16:creationId xmlns:a16="http://schemas.microsoft.com/office/drawing/2014/main" id="{2C639970-AB30-41C0-AE8B-6BB4A46A390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19081" y="2501683"/>
            <a:ext cx="13816251" cy="4143461"/>
            <a:chOff x="2621750" y="2305744"/>
            <a:chExt cx="5870930" cy="1760506"/>
          </a:xfrm>
        </p:grpSpPr>
        <p:sp>
          <p:nvSpPr>
            <p:cNvPr id="23" name="Frihåndsform: figur 22">
              <a:extLst>
                <a:ext uri="{FF2B5EF4-FFF2-40B4-BE49-F238E27FC236}">
                  <a16:creationId xmlns:a16="http://schemas.microsoft.com/office/drawing/2014/main" id="{E9175524-EA79-46C6-A01A-21FDCF3B817E}"/>
                </a:ext>
              </a:extLst>
            </p:cNvPr>
            <p:cNvSpPr/>
            <p:nvPr/>
          </p:nvSpPr>
          <p:spPr>
            <a:xfrm>
              <a:off x="2977610" y="2660366"/>
              <a:ext cx="5514975" cy="28575"/>
            </a:xfrm>
            <a:custGeom>
              <a:avLst/>
              <a:gdLst>
                <a:gd name="connsiteX0" fmla="*/ 14288 w 5514975"/>
                <a:gd name="connsiteY0" fmla="*/ 14287 h 28575"/>
                <a:gd name="connsiteX1" fmla="*/ 5501545 w 5514975"/>
                <a:gd name="connsiteY1" fmla="*/ 1428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14975" h="28575">
                  <a:moveTo>
                    <a:pt x="14288" y="14287"/>
                  </a:moveTo>
                  <a:lnTo>
                    <a:pt x="5501545" y="14287"/>
                  </a:lnTo>
                </a:path>
              </a:pathLst>
            </a:custGeom>
            <a:ln w="19050" cap="flat">
              <a:solidFill>
                <a:srgbClr val="E5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24" name="Frihåndsform: figur 23">
              <a:extLst>
                <a:ext uri="{FF2B5EF4-FFF2-40B4-BE49-F238E27FC236}">
                  <a16:creationId xmlns:a16="http://schemas.microsoft.com/office/drawing/2014/main" id="{B14E2131-EEDD-41F0-A7C1-6A83A9F5275A}"/>
                </a:ext>
              </a:extLst>
            </p:cNvPr>
            <p:cNvSpPr/>
            <p:nvPr/>
          </p:nvSpPr>
          <p:spPr>
            <a:xfrm>
              <a:off x="8416480" y="2615408"/>
              <a:ext cx="76200" cy="114300"/>
            </a:xfrm>
            <a:custGeom>
              <a:avLst/>
              <a:gdLst>
                <a:gd name="connsiteX0" fmla="*/ 14288 w 76200"/>
                <a:gd name="connsiteY0" fmla="*/ 14288 h 114300"/>
                <a:gd name="connsiteX1" fmla="*/ 62675 w 76200"/>
                <a:gd name="connsiteY1" fmla="*/ 59246 h 114300"/>
                <a:gd name="connsiteX2" fmla="*/ 14288 w 76200"/>
                <a:gd name="connsiteY2" fmla="*/ 10420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114300">
                  <a:moveTo>
                    <a:pt x="14288" y="14288"/>
                  </a:moveTo>
                  <a:lnTo>
                    <a:pt x="62675" y="59246"/>
                  </a:lnTo>
                  <a:lnTo>
                    <a:pt x="14288" y="104204"/>
                  </a:lnTo>
                </a:path>
              </a:pathLst>
            </a:custGeom>
            <a:noFill/>
            <a:ln w="19050" cap="flat">
              <a:solidFill>
                <a:srgbClr val="E5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25" name="Frihåndsform: figur 24">
              <a:extLst>
                <a:ext uri="{FF2B5EF4-FFF2-40B4-BE49-F238E27FC236}">
                  <a16:creationId xmlns:a16="http://schemas.microsoft.com/office/drawing/2014/main" id="{63A0C214-3DA3-446B-B4EC-5D92B196CB61}"/>
                </a:ext>
              </a:extLst>
            </p:cNvPr>
            <p:cNvSpPr/>
            <p:nvPr/>
          </p:nvSpPr>
          <p:spPr>
            <a:xfrm>
              <a:off x="2977610" y="3687447"/>
              <a:ext cx="5514975" cy="28575"/>
            </a:xfrm>
            <a:custGeom>
              <a:avLst/>
              <a:gdLst>
                <a:gd name="connsiteX0" fmla="*/ 14288 w 5514975"/>
                <a:gd name="connsiteY0" fmla="*/ 14287 h 28575"/>
                <a:gd name="connsiteX1" fmla="*/ 5501545 w 5514975"/>
                <a:gd name="connsiteY1" fmla="*/ 1428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14975" h="28575">
                  <a:moveTo>
                    <a:pt x="14288" y="14287"/>
                  </a:moveTo>
                  <a:lnTo>
                    <a:pt x="5501545" y="14287"/>
                  </a:lnTo>
                </a:path>
              </a:pathLst>
            </a:custGeom>
            <a:ln w="19050" cap="flat">
              <a:solidFill>
                <a:srgbClr val="E5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26" name="Frihåndsform: figur 25">
              <a:extLst>
                <a:ext uri="{FF2B5EF4-FFF2-40B4-BE49-F238E27FC236}">
                  <a16:creationId xmlns:a16="http://schemas.microsoft.com/office/drawing/2014/main" id="{CED127C7-6653-468F-83A5-AFFCCA4632A4}"/>
                </a:ext>
              </a:extLst>
            </p:cNvPr>
            <p:cNvSpPr/>
            <p:nvPr/>
          </p:nvSpPr>
          <p:spPr>
            <a:xfrm>
              <a:off x="8416480" y="3642489"/>
              <a:ext cx="76200" cy="114300"/>
            </a:xfrm>
            <a:custGeom>
              <a:avLst/>
              <a:gdLst>
                <a:gd name="connsiteX0" fmla="*/ 14288 w 76200"/>
                <a:gd name="connsiteY0" fmla="*/ 14288 h 114300"/>
                <a:gd name="connsiteX1" fmla="*/ 62675 w 76200"/>
                <a:gd name="connsiteY1" fmla="*/ 59246 h 114300"/>
                <a:gd name="connsiteX2" fmla="*/ 14288 w 76200"/>
                <a:gd name="connsiteY2" fmla="*/ 10429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200" h="114300">
                  <a:moveTo>
                    <a:pt x="14288" y="14288"/>
                  </a:moveTo>
                  <a:lnTo>
                    <a:pt x="62675" y="59246"/>
                  </a:lnTo>
                  <a:lnTo>
                    <a:pt x="14288" y="104299"/>
                  </a:lnTo>
                </a:path>
              </a:pathLst>
            </a:custGeom>
            <a:noFill/>
            <a:ln w="19050" cap="flat">
              <a:solidFill>
                <a:srgbClr val="E5E6E6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27" name="Frihåndsform: figur 26">
              <a:extLst>
                <a:ext uri="{FF2B5EF4-FFF2-40B4-BE49-F238E27FC236}">
                  <a16:creationId xmlns:a16="http://schemas.microsoft.com/office/drawing/2014/main" id="{F964CFDE-E8AB-4A13-958D-63A4493765BC}"/>
                </a:ext>
              </a:extLst>
            </p:cNvPr>
            <p:cNvSpPr/>
            <p:nvPr/>
          </p:nvSpPr>
          <p:spPr>
            <a:xfrm>
              <a:off x="2621750" y="2305744"/>
              <a:ext cx="866775" cy="733425"/>
            </a:xfrm>
            <a:custGeom>
              <a:avLst/>
              <a:gdLst>
                <a:gd name="connsiteX0" fmla="*/ 34201 w 866775"/>
                <a:gd name="connsiteY0" fmla="*/ 7150 h 733425"/>
                <a:gd name="connsiteX1" fmla="*/ 7150 w 866775"/>
                <a:gd name="connsiteY1" fmla="*/ 33046 h 733425"/>
                <a:gd name="connsiteX2" fmla="*/ 7150 w 866775"/>
                <a:gd name="connsiteY2" fmla="*/ 34201 h 733425"/>
                <a:gd name="connsiteX3" fmla="*/ 7150 w 866775"/>
                <a:gd name="connsiteY3" fmla="*/ 706095 h 733425"/>
                <a:gd name="connsiteX4" fmla="*/ 32948 w 866775"/>
                <a:gd name="connsiteY4" fmla="*/ 733053 h 733425"/>
                <a:gd name="connsiteX5" fmla="*/ 34201 w 866775"/>
                <a:gd name="connsiteY5" fmla="*/ 733050 h 733425"/>
                <a:gd name="connsiteX6" fmla="*/ 836587 w 866775"/>
                <a:gd name="connsiteY6" fmla="*/ 733050 h 733425"/>
                <a:gd name="connsiteX7" fmla="*/ 863636 w 866775"/>
                <a:gd name="connsiteY7" fmla="*/ 707153 h 733425"/>
                <a:gd name="connsiteX8" fmla="*/ 863638 w 866775"/>
                <a:gd name="connsiteY8" fmla="*/ 706095 h 733425"/>
                <a:gd name="connsiteX9" fmla="*/ 863638 w 866775"/>
                <a:gd name="connsiteY9" fmla="*/ 34201 h 733425"/>
                <a:gd name="connsiteX10" fmla="*/ 837743 w 866775"/>
                <a:gd name="connsiteY10" fmla="*/ 7150 h 733425"/>
                <a:gd name="connsiteX11" fmla="*/ 836587 w 86677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775" h="733425">
                  <a:moveTo>
                    <a:pt x="34201" y="7150"/>
                  </a:moveTo>
                  <a:cubicBezTo>
                    <a:pt x="19581" y="6831"/>
                    <a:pt x="7469" y="18425"/>
                    <a:pt x="7150" y="33046"/>
                  </a:cubicBezTo>
                  <a:cubicBezTo>
                    <a:pt x="7142" y="33431"/>
                    <a:pt x="7142" y="33816"/>
                    <a:pt x="7150" y="34201"/>
                  </a:cubicBezTo>
                  <a:lnTo>
                    <a:pt x="7150" y="706095"/>
                  </a:lnTo>
                  <a:cubicBezTo>
                    <a:pt x="6830" y="720663"/>
                    <a:pt x="18380" y="732732"/>
                    <a:pt x="32948" y="733053"/>
                  </a:cubicBezTo>
                  <a:cubicBezTo>
                    <a:pt x="33366" y="733062"/>
                    <a:pt x="33784" y="733061"/>
                    <a:pt x="34201" y="733050"/>
                  </a:cubicBezTo>
                  <a:lnTo>
                    <a:pt x="836587" y="733050"/>
                  </a:lnTo>
                  <a:cubicBezTo>
                    <a:pt x="851208" y="733369"/>
                    <a:pt x="863318" y="721774"/>
                    <a:pt x="863636" y="707153"/>
                  </a:cubicBezTo>
                  <a:cubicBezTo>
                    <a:pt x="863644" y="706800"/>
                    <a:pt x="863645" y="706448"/>
                    <a:pt x="863638" y="706095"/>
                  </a:cubicBezTo>
                  <a:lnTo>
                    <a:pt x="863638" y="34201"/>
                  </a:lnTo>
                  <a:cubicBezTo>
                    <a:pt x="863957" y="19580"/>
                    <a:pt x="852364" y="7469"/>
                    <a:pt x="837743" y="7150"/>
                  </a:cubicBezTo>
                  <a:cubicBezTo>
                    <a:pt x="837358" y="7142"/>
                    <a:pt x="836972" y="7142"/>
                    <a:pt x="836587" y="7150"/>
                  </a:cubicBezTo>
                  <a:close/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489"/>
                <a:t>Tekst</a:t>
              </a:r>
            </a:p>
          </p:txBody>
        </p:sp>
        <p:sp>
          <p:nvSpPr>
            <p:cNvPr id="28" name="Frihåndsform: figur 27">
              <a:extLst>
                <a:ext uri="{FF2B5EF4-FFF2-40B4-BE49-F238E27FC236}">
                  <a16:creationId xmlns:a16="http://schemas.microsoft.com/office/drawing/2014/main" id="{89293B83-9464-495B-8EAF-F030B3F16B57}"/>
                </a:ext>
              </a:extLst>
            </p:cNvPr>
            <p:cNvSpPr/>
            <p:nvPr/>
          </p:nvSpPr>
          <p:spPr>
            <a:xfrm>
              <a:off x="2621750" y="3332825"/>
              <a:ext cx="1857375" cy="733425"/>
            </a:xfrm>
            <a:custGeom>
              <a:avLst/>
              <a:gdLst>
                <a:gd name="connsiteX0" fmla="*/ 34201 w 1857375"/>
                <a:gd name="connsiteY0" fmla="*/ 7150 h 733425"/>
                <a:gd name="connsiteX1" fmla="*/ 7150 w 1857375"/>
                <a:gd name="connsiteY1" fmla="*/ 33046 h 733425"/>
                <a:gd name="connsiteX2" fmla="*/ 7150 w 1857375"/>
                <a:gd name="connsiteY2" fmla="*/ 34201 h 733425"/>
                <a:gd name="connsiteX3" fmla="*/ 7150 w 1857375"/>
                <a:gd name="connsiteY3" fmla="*/ 706095 h 733425"/>
                <a:gd name="connsiteX4" fmla="*/ 33335 w 1857375"/>
                <a:gd name="connsiteY4" fmla="*/ 732677 h 733425"/>
                <a:gd name="connsiteX5" fmla="*/ 34201 w 1857375"/>
                <a:gd name="connsiteY5" fmla="*/ 732669 h 733425"/>
                <a:gd name="connsiteX6" fmla="*/ 1825663 w 1857375"/>
                <a:gd name="connsiteY6" fmla="*/ 732669 h 733425"/>
                <a:gd name="connsiteX7" fmla="*/ 1852712 w 1857375"/>
                <a:gd name="connsiteY7" fmla="*/ 706772 h 733425"/>
                <a:gd name="connsiteX8" fmla="*/ 1852714 w 1857375"/>
                <a:gd name="connsiteY8" fmla="*/ 705714 h 733425"/>
                <a:gd name="connsiteX9" fmla="*/ 1852714 w 1857375"/>
                <a:gd name="connsiteY9" fmla="*/ 34201 h 733425"/>
                <a:gd name="connsiteX10" fmla="*/ 1826819 w 1857375"/>
                <a:gd name="connsiteY10" fmla="*/ 7150 h 733425"/>
                <a:gd name="connsiteX11" fmla="*/ 1825663 w 185737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57375" h="733425">
                  <a:moveTo>
                    <a:pt x="34201" y="7150"/>
                  </a:moveTo>
                  <a:cubicBezTo>
                    <a:pt x="19580" y="6831"/>
                    <a:pt x="7469" y="18425"/>
                    <a:pt x="7150" y="33046"/>
                  </a:cubicBezTo>
                  <a:cubicBezTo>
                    <a:pt x="7142" y="33431"/>
                    <a:pt x="7142" y="33816"/>
                    <a:pt x="7150" y="34201"/>
                  </a:cubicBezTo>
                  <a:lnTo>
                    <a:pt x="7150" y="706095"/>
                  </a:lnTo>
                  <a:cubicBezTo>
                    <a:pt x="7040" y="720666"/>
                    <a:pt x="18763" y="732567"/>
                    <a:pt x="33335" y="732677"/>
                  </a:cubicBezTo>
                  <a:cubicBezTo>
                    <a:pt x="33623" y="732679"/>
                    <a:pt x="33912" y="732677"/>
                    <a:pt x="34201" y="732669"/>
                  </a:cubicBezTo>
                  <a:lnTo>
                    <a:pt x="1825663" y="732669"/>
                  </a:lnTo>
                  <a:cubicBezTo>
                    <a:pt x="1840284" y="732987"/>
                    <a:pt x="1852394" y="721393"/>
                    <a:pt x="1852712" y="706772"/>
                  </a:cubicBezTo>
                  <a:cubicBezTo>
                    <a:pt x="1852720" y="706419"/>
                    <a:pt x="1852720" y="706066"/>
                    <a:pt x="1852714" y="705714"/>
                  </a:cubicBezTo>
                  <a:lnTo>
                    <a:pt x="1852714" y="34201"/>
                  </a:lnTo>
                  <a:cubicBezTo>
                    <a:pt x="1853033" y="19580"/>
                    <a:pt x="1841439" y="7469"/>
                    <a:pt x="1826819" y="7150"/>
                  </a:cubicBezTo>
                  <a:cubicBezTo>
                    <a:pt x="1826434" y="7142"/>
                    <a:pt x="1826048" y="7142"/>
                    <a:pt x="1825663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133"/>
                <a:t>Tekst</a:t>
              </a:r>
            </a:p>
          </p:txBody>
        </p:sp>
        <p:sp>
          <p:nvSpPr>
            <p:cNvPr id="29" name="Frihåndsform: figur 28">
              <a:extLst>
                <a:ext uri="{FF2B5EF4-FFF2-40B4-BE49-F238E27FC236}">
                  <a16:creationId xmlns:a16="http://schemas.microsoft.com/office/drawing/2014/main" id="{5381052C-1A39-4495-ACAA-51AE07393CBA}"/>
                </a:ext>
              </a:extLst>
            </p:cNvPr>
            <p:cNvSpPr/>
            <p:nvPr/>
          </p:nvSpPr>
          <p:spPr>
            <a:xfrm>
              <a:off x="3570916" y="2305744"/>
              <a:ext cx="866775" cy="733425"/>
            </a:xfrm>
            <a:custGeom>
              <a:avLst/>
              <a:gdLst>
                <a:gd name="connsiteX0" fmla="*/ 34201 w 866775"/>
                <a:gd name="connsiteY0" fmla="*/ 7150 h 733425"/>
                <a:gd name="connsiteX1" fmla="*/ 7150 w 866775"/>
                <a:gd name="connsiteY1" fmla="*/ 33046 h 733425"/>
                <a:gd name="connsiteX2" fmla="*/ 7150 w 866775"/>
                <a:gd name="connsiteY2" fmla="*/ 34201 h 733425"/>
                <a:gd name="connsiteX3" fmla="*/ 7150 w 866775"/>
                <a:gd name="connsiteY3" fmla="*/ 706095 h 733425"/>
                <a:gd name="connsiteX4" fmla="*/ 32948 w 866775"/>
                <a:gd name="connsiteY4" fmla="*/ 733053 h 733425"/>
                <a:gd name="connsiteX5" fmla="*/ 34201 w 866775"/>
                <a:gd name="connsiteY5" fmla="*/ 733050 h 733425"/>
                <a:gd name="connsiteX6" fmla="*/ 836683 w 866775"/>
                <a:gd name="connsiteY6" fmla="*/ 733050 h 733425"/>
                <a:gd name="connsiteX7" fmla="*/ 863638 w 866775"/>
                <a:gd name="connsiteY7" fmla="*/ 707250 h 733425"/>
                <a:gd name="connsiteX8" fmla="*/ 863638 w 866775"/>
                <a:gd name="connsiteY8" fmla="*/ 706095 h 733425"/>
                <a:gd name="connsiteX9" fmla="*/ 863638 w 866775"/>
                <a:gd name="connsiteY9" fmla="*/ 34201 h 733425"/>
                <a:gd name="connsiteX10" fmla="*/ 837741 w 866775"/>
                <a:gd name="connsiteY10" fmla="*/ 7152 h 733425"/>
                <a:gd name="connsiteX11" fmla="*/ 836683 w 86677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775" h="733425">
                  <a:moveTo>
                    <a:pt x="34201" y="7150"/>
                  </a:moveTo>
                  <a:cubicBezTo>
                    <a:pt x="19580" y="6831"/>
                    <a:pt x="7469" y="18425"/>
                    <a:pt x="7150" y="33046"/>
                  </a:cubicBezTo>
                  <a:cubicBezTo>
                    <a:pt x="7142" y="33431"/>
                    <a:pt x="7142" y="33816"/>
                    <a:pt x="7150" y="34201"/>
                  </a:cubicBezTo>
                  <a:lnTo>
                    <a:pt x="7150" y="706095"/>
                  </a:lnTo>
                  <a:cubicBezTo>
                    <a:pt x="6830" y="720663"/>
                    <a:pt x="18380" y="732732"/>
                    <a:pt x="32948" y="733053"/>
                  </a:cubicBezTo>
                  <a:cubicBezTo>
                    <a:pt x="33366" y="733062"/>
                    <a:pt x="33784" y="733061"/>
                    <a:pt x="34201" y="733050"/>
                  </a:cubicBezTo>
                  <a:lnTo>
                    <a:pt x="836683" y="733050"/>
                  </a:lnTo>
                  <a:cubicBezTo>
                    <a:pt x="851251" y="733370"/>
                    <a:pt x="863319" y="721819"/>
                    <a:pt x="863638" y="707250"/>
                  </a:cubicBezTo>
                  <a:cubicBezTo>
                    <a:pt x="863647" y="706865"/>
                    <a:pt x="863647" y="706480"/>
                    <a:pt x="863638" y="706095"/>
                  </a:cubicBezTo>
                  <a:lnTo>
                    <a:pt x="863638" y="34201"/>
                  </a:lnTo>
                  <a:cubicBezTo>
                    <a:pt x="863956" y="19580"/>
                    <a:pt x="852362" y="7470"/>
                    <a:pt x="837741" y="7152"/>
                  </a:cubicBezTo>
                  <a:cubicBezTo>
                    <a:pt x="837388" y="7144"/>
                    <a:pt x="837035" y="7144"/>
                    <a:pt x="836683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489"/>
                <a:t>Tekst</a:t>
              </a:r>
            </a:p>
          </p:txBody>
        </p:sp>
        <p:sp>
          <p:nvSpPr>
            <p:cNvPr id="30" name="Frihåndsform: figur 29">
              <a:extLst>
                <a:ext uri="{FF2B5EF4-FFF2-40B4-BE49-F238E27FC236}">
                  <a16:creationId xmlns:a16="http://schemas.microsoft.com/office/drawing/2014/main" id="{00DCE5ED-E5CC-4E61-8DFC-947074E53AAA}"/>
                </a:ext>
              </a:extLst>
            </p:cNvPr>
            <p:cNvSpPr/>
            <p:nvPr/>
          </p:nvSpPr>
          <p:spPr>
            <a:xfrm>
              <a:off x="4520175" y="2305744"/>
              <a:ext cx="866775" cy="733425"/>
            </a:xfrm>
            <a:custGeom>
              <a:avLst/>
              <a:gdLst>
                <a:gd name="connsiteX0" fmla="*/ 34108 w 866775"/>
                <a:gd name="connsiteY0" fmla="*/ 7150 h 733425"/>
                <a:gd name="connsiteX1" fmla="*/ 7150 w 866775"/>
                <a:gd name="connsiteY1" fmla="*/ 32948 h 733425"/>
                <a:gd name="connsiteX2" fmla="*/ 7152 w 866775"/>
                <a:gd name="connsiteY2" fmla="*/ 34201 h 733425"/>
                <a:gd name="connsiteX3" fmla="*/ 7152 w 866775"/>
                <a:gd name="connsiteY3" fmla="*/ 706095 h 733425"/>
                <a:gd name="connsiteX4" fmla="*/ 32952 w 866775"/>
                <a:gd name="connsiteY4" fmla="*/ 733051 h 733425"/>
                <a:gd name="connsiteX5" fmla="*/ 34108 w 866775"/>
                <a:gd name="connsiteY5" fmla="*/ 733051 h 733425"/>
                <a:gd name="connsiteX6" fmla="*/ 836589 w 866775"/>
                <a:gd name="connsiteY6" fmla="*/ 733051 h 733425"/>
                <a:gd name="connsiteX7" fmla="*/ 863545 w 866775"/>
                <a:gd name="connsiteY7" fmla="*/ 707250 h 733425"/>
                <a:gd name="connsiteX8" fmla="*/ 863545 w 866775"/>
                <a:gd name="connsiteY8" fmla="*/ 706095 h 733425"/>
                <a:gd name="connsiteX9" fmla="*/ 863545 w 866775"/>
                <a:gd name="connsiteY9" fmla="*/ 34201 h 733425"/>
                <a:gd name="connsiteX10" fmla="*/ 837648 w 866775"/>
                <a:gd name="connsiteY10" fmla="*/ 7152 h 733425"/>
                <a:gd name="connsiteX11" fmla="*/ 836589 w 86677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775" h="733425">
                  <a:moveTo>
                    <a:pt x="34108" y="7150"/>
                  </a:moveTo>
                  <a:cubicBezTo>
                    <a:pt x="19540" y="6830"/>
                    <a:pt x="7470" y="18380"/>
                    <a:pt x="7150" y="32948"/>
                  </a:cubicBezTo>
                  <a:cubicBezTo>
                    <a:pt x="7141" y="33366"/>
                    <a:pt x="7142" y="33784"/>
                    <a:pt x="7152" y="34201"/>
                  </a:cubicBezTo>
                  <a:lnTo>
                    <a:pt x="7152" y="706095"/>
                  </a:lnTo>
                  <a:cubicBezTo>
                    <a:pt x="6833" y="720663"/>
                    <a:pt x="18384" y="732731"/>
                    <a:pt x="32952" y="733051"/>
                  </a:cubicBezTo>
                  <a:cubicBezTo>
                    <a:pt x="33337" y="733059"/>
                    <a:pt x="33723" y="733059"/>
                    <a:pt x="34108" y="733051"/>
                  </a:cubicBezTo>
                  <a:lnTo>
                    <a:pt x="836589" y="733051"/>
                  </a:lnTo>
                  <a:cubicBezTo>
                    <a:pt x="851157" y="733370"/>
                    <a:pt x="863226" y="721819"/>
                    <a:pt x="863545" y="707250"/>
                  </a:cubicBezTo>
                  <a:cubicBezTo>
                    <a:pt x="863554" y="706865"/>
                    <a:pt x="863554" y="706480"/>
                    <a:pt x="863545" y="706095"/>
                  </a:cubicBezTo>
                  <a:lnTo>
                    <a:pt x="863545" y="34201"/>
                  </a:lnTo>
                  <a:cubicBezTo>
                    <a:pt x="863863" y="19580"/>
                    <a:pt x="852268" y="7470"/>
                    <a:pt x="837648" y="7152"/>
                  </a:cubicBezTo>
                  <a:cubicBezTo>
                    <a:pt x="837295" y="7144"/>
                    <a:pt x="836942" y="7144"/>
                    <a:pt x="836589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489"/>
                <a:t>Tekst</a:t>
              </a:r>
            </a:p>
          </p:txBody>
        </p:sp>
        <p:sp>
          <p:nvSpPr>
            <p:cNvPr id="31" name="Frihåndsform: figur 30">
              <a:extLst>
                <a:ext uri="{FF2B5EF4-FFF2-40B4-BE49-F238E27FC236}">
                  <a16:creationId xmlns:a16="http://schemas.microsoft.com/office/drawing/2014/main" id="{D1472850-5DEF-4F4A-8E29-DA8D91BD7286}"/>
                </a:ext>
              </a:extLst>
            </p:cNvPr>
            <p:cNvSpPr/>
            <p:nvPr/>
          </p:nvSpPr>
          <p:spPr>
            <a:xfrm>
              <a:off x="4587900" y="3332825"/>
              <a:ext cx="1809750" cy="733425"/>
            </a:xfrm>
            <a:custGeom>
              <a:avLst/>
              <a:gdLst>
                <a:gd name="connsiteX0" fmla="*/ 34201 w 1809750"/>
                <a:gd name="connsiteY0" fmla="*/ 7150 h 733425"/>
                <a:gd name="connsiteX1" fmla="*/ 7150 w 1809750"/>
                <a:gd name="connsiteY1" fmla="*/ 33046 h 733425"/>
                <a:gd name="connsiteX2" fmla="*/ 7150 w 1809750"/>
                <a:gd name="connsiteY2" fmla="*/ 34201 h 733425"/>
                <a:gd name="connsiteX3" fmla="*/ 7150 w 1809750"/>
                <a:gd name="connsiteY3" fmla="*/ 706095 h 733425"/>
                <a:gd name="connsiteX4" fmla="*/ 32948 w 1809750"/>
                <a:gd name="connsiteY4" fmla="*/ 733053 h 733425"/>
                <a:gd name="connsiteX5" fmla="*/ 34201 w 1809750"/>
                <a:gd name="connsiteY5" fmla="*/ 733051 h 733425"/>
                <a:gd name="connsiteX6" fmla="*/ 1784992 w 1809750"/>
                <a:gd name="connsiteY6" fmla="*/ 733050 h 733425"/>
                <a:gd name="connsiteX7" fmla="*/ 1811947 w 1809750"/>
                <a:gd name="connsiteY7" fmla="*/ 707250 h 733425"/>
                <a:gd name="connsiteX8" fmla="*/ 1811947 w 1809750"/>
                <a:gd name="connsiteY8" fmla="*/ 706095 h 733425"/>
                <a:gd name="connsiteX9" fmla="*/ 1811947 w 1809750"/>
                <a:gd name="connsiteY9" fmla="*/ 34201 h 733425"/>
                <a:gd name="connsiteX10" fmla="*/ 1786050 w 1809750"/>
                <a:gd name="connsiteY10" fmla="*/ 7152 h 733425"/>
                <a:gd name="connsiteX11" fmla="*/ 1784992 w 1809750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50" h="733425">
                  <a:moveTo>
                    <a:pt x="34201" y="7150"/>
                  </a:moveTo>
                  <a:cubicBezTo>
                    <a:pt x="19580" y="6831"/>
                    <a:pt x="7469" y="18425"/>
                    <a:pt x="7150" y="33046"/>
                  </a:cubicBezTo>
                  <a:cubicBezTo>
                    <a:pt x="7142" y="33431"/>
                    <a:pt x="7142" y="33816"/>
                    <a:pt x="7150" y="34201"/>
                  </a:cubicBezTo>
                  <a:lnTo>
                    <a:pt x="7150" y="706095"/>
                  </a:lnTo>
                  <a:cubicBezTo>
                    <a:pt x="6830" y="720663"/>
                    <a:pt x="18380" y="732732"/>
                    <a:pt x="32948" y="733053"/>
                  </a:cubicBezTo>
                  <a:cubicBezTo>
                    <a:pt x="33366" y="733062"/>
                    <a:pt x="33784" y="733061"/>
                    <a:pt x="34201" y="733051"/>
                  </a:cubicBezTo>
                  <a:lnTo>
                    <a:pt x="1784992" y="733050"/>
                  </a:lnTo>
                  <a:cubicBezTo>
                    <a:pt x="1799560" y="733370"/>
                    <a:pt x="1811628" y="721818"/>
                    <a:pt x="1811947" y="707250"/>
                  </a:cubicBezTo>
                  <a:cubicBezTo>
                    <a:pt x="1811956" y="706865"/>
                    <a:pt x="1811956" y="706480"/>
                    <a:pt x="1811947" y="706095"/>
                  </a:cubicBezTo>
                  <a:lnTo>
                    <a:pt x="1811947" y="34201"/>
                  </a:lnTo>
                  <a:cubicBezTo>
                    <a:pt x="1812265" y="19580"/>
                    <a:pt x="1800671" y="7470"/>
                    <a:pt x="1786050" y="7152"/>
                  </a:cubicBezTo>
                  <a:cubicBezTo>
                    <a:pt x="1785697" y="7144"/>
                    <a:pt x="1785344" y="7144"/>
                    <a:pt x="1784992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133"/>
                <a:t>Tekst</a:t>
              </a:r>
            </a:p>
          </p:txBody>
        </p:sp>
        <p:sp>
          <p:nvSpPr>
            <p:cNvPr id="32" name="Frihåndsform: figur 31">
              <a:extLst>
                <a:ext uri="{FF2B5EF4-FFF2-40B4-BE49-F238E27FC236}">
                  <a16:creationId xmlns:a16="http://schemas.microsoft.com/office/drawing/2014/main" id="{5E0A5E3A-76CD-4841-9296-54E861D624FF}"/>
                </a:ext>
              </a:extLst>
            </p:cNvPr>
            <p:cNvSpPr/>
            <p:nvPr/>
          </p:nvSpPr>
          <p:spPr>
            <a:xfrm>
              <a:off x="5469723" y="2305744"/>
              <a:ext cx="866775" cy="733425"/>
            </a:xfrm>
            <a:custGeom>
              <a:avLst/>
              <a:gdLst>
                <a:gd name="connsiteX0" fmla="*/ 33727 w 866775"/>
                <a:gd name="connsiteY0" fmla="*/ 7150 h 733425"/>
                <a:gd name="connsiteX1" fmla="*/ 7144 w 866775"/>
                <a:gd name="connsiteY1" fmla="*/ 33335 h 733425"/>
                <a:gd name="connsiteX2" fmla="*/ 7152 w 866775"/>
                <a:gd name="connsiteY2" fmla="*/ 34201 h 733425"/>
                <a:gd name="connsiteX3" fmla="*/ 7152 w 866775"/>
                <a:gd name="connsiteY3" fmla="*/ 706095 h 733425"/>
                <a:gd name="connsiteX4" fmla="*/ 32952 w 866775"/>
                <a:gd name="connsiteY4" fmla="*/ 733050 h 733425"/>
                <a:gd name="connsiteX5" fmla="*/ 34108 w 866775"/>
                <a:gd name="connsiteY5" fmla="*/ 733050 h 733425"/>
                <a:gd name="connsiteX6" fmla="*/ 835827 w 866775"/>
                <a:gd name="connsiteY6" fmla="*/ 733050 h 733425"/>
                <a:gd name="connsiteX7" fmla="*/ 862876 w 866775"/>
                <a:gd name="connsiteY7" fmla="*/ 707153 h 733425"/>
                <a:gd name="connsiteX8" fmla="*/ 862878 w 866775"/>
                <a:gd name="connsiteY8" fmla="*/ 706095 h 733425"/>
                <a:gd name="connsiteX9" fmla="*/ 862878 w 866775"/>
                <a:gd name="connsiteY9" fmla="*/ 34201 h 733425"/>
                <a:gd name="connsiteX10" fmla="*/ 836982 w 866775"/>
                <a:gd name="connsiteY10" fmla="*/ 7150 h 733425"/>
                <a:gd name="connsiteX11" fmla="*/ 835827 w 86677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6775" h="733425">
                  <a:moveTo>
                    <a:pt x="33727" y="7150"/>
                  </a:moveTo>
                  <a:cubicBezTo>
                    <a:pt x="19156" y="7040"/>
                    <a:pt x="7254" y="18763"/>
                    <a:pt x="7144" y="33335"/>
                  </a:cubicBezTo>
                  <a:cubicBezTo>
                    <a:pt x="7142" y="33623"/>
                    <a:pt x="7145" y="33912"/>
                    <a:pt x="7152" y="34201"/>
                  </a:cubicBezTo>
                  <a:lnTo>
                    <a:pt x="7152" y="706095"/>
                  </a:lnTo>
                  <a:cubicBezTo>
                    <a:pt x="6833" y="720663"/>
                    <a:pt x="18384" y="732731"/>
                    <a:pt x="32952" y="733050"/>
                  </a:cubicBezTo>
                  <a:cubicBezTo>
                    <a:pt x="33337" y="733059"/>
                    <a:pt x="33723" y="733059"/>
                    <a:pt x="34108" y="733050"/>
                  </a:cubicBezTo>
                  <a:lnTo>
                    <a:pt x="835827" y="733050"/>
                  </a:lnTo>
                  <a:cubicBezTo>
                    <a:pt x="850448" y="733368"/>
                    <a:pt x="862558" y="721774"/>
                    <a:pt x="862876" y="707153"/>
                  </a:cubicBezTo>
                  <a:cubicBezTo>
                    <a:pt x="862884" y="706800"/>
                    <a:pt x="862885" y="706447"/>
                    <a:pt x="862878" y="706095"/>
                  </a:cubicBezTo>
                  <a:lnTo>
                    <a:pt x="862878" y="34201"/>
                  </a:lnTo>
                  <a:cubicBezTo>
                    <a:pt x="863197" y="19580"/>
                    <a:pt x="851603" y="7469"/>
                    <a:pt x="836982" y="7150"/>
                  </a:cubicBezTo>
                  <a:cubicBezTo>
                    <a:pt x="836597" y="7142"/>
                    <a:pt x="836212" y="7142"/>
                    <a:pt x="835827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489"/>
                <a:t>Tekst</a:t>
              </a:r>
            </a:p>
          </p:txBody>
        </p:sp>
        <p:sp>
          <p:nvSpPr>
            <p:cNvPr id="33" name="Frihåndsform: figur 32">
              <a:extLst>
                <a:ext uri="{FF2B5EF4-FFF2-40B4-BE49-F238E27FC236}">
                  <a16:creationId xmlns:a16="http://schemas.microsoft.com/office/drawing/2014/main" id="{767D70FE-5624-492E-B373-79765EDEF132}"/>
                </a:ext>
              </a:extLst>
            </p:cNvPr>
            <p:cNvSpPr/>
            <p:nvPr/>
          </p:nvSpPr>
          <p:spPr>
            <a:xfrm>
              <a:off x="6418510" y="2305744"/>
              <a:ext cx="847725" cy="733425"/>
            </a:xfrm>
            <a:custGeom>
              <a:avLst/>
              <a:gdLst>
                <a:gd name="connsiteX0" fmla="*/ 34202 w 847725"/>
                <a:gd name="connsiteY0" fmla="*/ 7150 h 733425"/>
                <a:gd name="connsiteX1" fmla="*/ 7151 w 847725"/>
                <a:gd name="connsiteY1" fmla="*/ 33046 h 733425"/>
                <a:gd name="connsiteX2" fmla="*/ 7151 w 847725"/>
                <a:gd name="connsiteY2" fmla="*/ 34201 h 733425"/>
                <a:gd name="connsiteX3" fmla="*/ 7150 w 847725"/>
                <a:gd name="connsiteY3" fmla="*/ 706095 h 733425"/>
                <a:gd name="connsiteX4" fmla="*/ 32948 w 847725"/>
                <a:gd name="connsiteY4" fmla="*/ 733053 h 733425"/>
                <a:gd name="connsiteX5" fmla="*/ 34201 w 847725"/>
                <a:gd name="connsiteY5" fmla="*/ 733050 h 733425"/>
                <a:gd name="connsiteX6" fmla="*/ 817728 w 847725"/>
                <a:gd name="connsiteY6" fmla="*/ 733050 h 733425"/>
                <a:gd name="connsiteX7" fmla="*/ 844683 w 847725"/>
                <a:gd name="connsiteY7" fmla="*/ 707250 h 733425"/>
                <a:gd name="connsiteX8" fmla="*/ 844683 w 847725"/>
                <a:gd name="connsiteY8" fmla="*/ 706095 h 733425"/>
                <a:gd name="connsiteX9" fmla="*/ 844684 w 847725"/>
                <a:gd name="connsiteY9" fmla="*/ 34201 h 733425"/>
                <a:gd name="connsiteX10" fmla="*/ 818787 w 847725"/>
                <a:gd name="connsiteY10" fmla="*/ 7152 h 733425"/>
                <a:gd name="connsiteX11" fmla="*/ 817728 w 84772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7725" h="733425">
                  <a:moveTo>
                    <a:pt x="34202" y="7150"/>
                  </a:moveTo>
                  <a:cubicBezTo>
                    <a:pt x="19581" y="6831"/>
                    <a:pt x="7470" y="18425"/>
                    <a:pt x="7151" y="33046"/>
                  </a:cubicBezTo>
                  <a:cubicBezTo>
                    <a:pt x="7142" y="33431"/>
                    <a:pt x="7142" y="33816"/>
                    <a:pt x="7151" y="34201"/>
                  </a:cubicBezTo>
                  <a:lnTo>
                    <a:pt x="7150" y="706095"/>
                  </a:lnTo>
                  <a:cubicBezTo>
                    <a:pt x="6830" y="720663"/>
                    <a:pt x="18380" y="732732"/>
                    <a:pt x="32948" y="733053"/>
                  </a:cubicBezTo>
                  <a:cubicBezTo>
                    <a:pt x="33366" y="733062"/>
                    <a:pt x="33784" y="733061"/>
                    <a:pt x="34201" y="733050"/>
                  </a:cubicBezTo>
                  <a:lnTo>
                    <a:pt x="817728" y="733050"/>
                  </a:lnTo>
                  <a:cubicBezTo>
                    <a:pt x="832296" y="733370"/>
                    <a:pt x="844365" y="721819"/>
                    <a:pt x="844683" y="707250"/>
                  </a:cubicBezTo>
                  <a:cubicBezTo>
                    <a:pt x="844692" y="706865"/>
                    <a:pt x="844692" y="706480"/>
                    <a:pt x="844683" y="706095"/>
                  </a:cubicBezTo>
                  <a:lnTo>
                    <a:pt x="844684" y="34201"/>
                  </a:lnTo>
                  <a:cubicBezTo>
                    <a:pt x="845002" y="19580"/>
                    <a:pt x="833407" y="7470"/>
                    <a:pt x="818787" y="7152"/>
                  </a:cubicBezTo>
                  <a:cubicBezTo>
                    <a:pt x="818434" y="7144"/>
                    <a:pt x="818081" y="7144"/>
                    <a:pt x="817728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489"/>
                <a:t>Tekst</a:t>
              </a:r>
            </a:p>
          </p:txBody>
        </p:sp>
        <p:sp>
          <p:nvSpPr>
            <p:cNvPr id="34" name="Frihåndsform: figur 33">
              <a:extLst>
                <a:ext uri="{FF2B5EF4-FFF2-40B4-BE49-F238E27FC236}">
                  <a16:creationId xmlns:a16="http://schemas.microsoft.com/office/drawing/2014/main" id="{3C12F52F-2E96-493A-B8C4-ED933BAC183C}"/>
                </a:ext>
              </a:extLst>
            </p:cNvPr>
            <p:cNvSpPr/>
            <p:nvPr/>
          </p:nvSpPr>
          <p:spPr>
            <a:xfrm>
              <a:off x="6478706" y="3332825"/>
              <a:ext cx="1809750" cy="733425"/>
            </a:xfrm>
            <a:custGeom>
              <a:avLst/>
              <a:gdLst>
                <a:gd name="connsiteX0" fmla="*/ 34108 w 1809750"/>
                <a:gd name="connsiteY0" fmla="*/ 7150 h 733425"/>
                <a:gd name="connsiteX1" fmla="*/ 7150 w 1809750"/>
                <a:gd name="connsiteY1" fmla="*/ 32948 h 733425"/>
                <a:gd name="connsiteX2" fmla="*/ 7152 w 1809750"/>
                <a:gd name="connsiteY2" fmla="*/ 34201 h 733425"/>
                <a:gd name="connsiteX3" fmla="*/ 7152 w 1809750"/>
                <a:gd name="connsiteY3" fmla="*/ 706095 h 733425"/>
                <a:gd name="connsiteX4" fmla="*/ 32952 w 1809750"/>
                <a:gd name="connsiteY4" fmla="*/ 733051 h 733425"/>
                <a:gd name="connsiteX5" fmla="*/ 34108 w 1809750"/>
                <a:gd name="connsiteY5" fmla="*/ 733051 h 733425"/>
                <a:gd name="connsiteX6" fmla="*/ 1784898 w 1809750"/>
                <a:gd name="connsiteY6" fmla="*/ 733050 h 733425"/>
                <a:gd name="connsiteX7" fmla="*/ 1811854 w 1809750"/>
                <a:gd name="connsiteY7" fmla="*/ 707250 h 733425"/>
                <a:gd name="connsiteX8" fmla="*/ 1811854 w 1809750"/>
                <a:gd name="connsiteY8" fmla="*/ 706095 h 733425"/>
                <a:gd name="connsiteX9" fmla="*/ 1811854 w 1809750"/>
                <a:gd name="connsiteY9" fmla="*/ 34201 h 733425"/>
                <a:gd name="connsiteX10" fmla="*/ 1785957 w 1809750"/>
                <a:gd name="connsiteY10" fmla="*/ 7152 h 733425"/>
                <a:gd name="connsiteX11" fmla="*/ 1784898 w 1809750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50" h="733425">
                  <a:moveTo>
                    <a:pt x="34108" y="7150"/>
                  </a:moveTo>
                  <a:cubicBezTo>
                    <a:pt x="19540" y="6830"/>
                    <a:pt x="7470" y="18380"/>
                    <a:pt x="7150" y="32948"/>
                  </a:cubicBezTo>
                  <a:cubicBezTo>
                    <a:pt x="7141" y="33366"/>
                    <a:pt x="7142" y="33784"/>
                    <a:pt x="7152" y="34201"/>
                  </a:cubicBezTo>
                  <a:lnTo>
                    <a:pt x="7152" y="706095"/>
                  </a:lnTo>
                  <a:cubicBezTo>
                    <a:pt x="6833" y="720663"/>
                    <a:pt x="18384" y="732731"/>
                    <a:pt x="32952" y="733051"/>
                  </a:cubicBezTo>
                  <a:cubicBezTo>
                    <a:pt x="33338" y="733059"/>
                    <a:pt x="33723" y="733059"/>
                    <a:pt x="34108" y="733051"/>
                  </a:cubicBezTo>
                  <a:lnTo>
                    <a:pt x="1784898" y="733050"/>
                  </a:lnTo>
                  <a:cubicBezTo>
                    <a:pt x="1799467" y="733370"/>
                    <a:pt x="1811535" y="721818"/>
                    <a:pt x="1811854" y="707250"/>
                  </a:cubicBezTo>
                  <a:cubicBezTo>
                    <a:pt x="1811863" y="706865"/>
                    <a:pt x="1811863" y="706480"/>
                    <a:pt x="1811854" y="706095"/>
                  </a:cubicBezTo>
                  <a:lnTo>
                    <a:pt x="1811854" y="34201"/>
                  </a:lnTo>
                  <a:cubicBezTo>
                    <a:pt x="1812172" y="19580"/>
                    <a:pt x="1800578" y="7470"/>
                    <a:pt x="1785957" y="7152"/>
                  </a:cubicBezTo>
                  <a:cubicBezTo>
                    <a:pt x="1785604" y="7144"/>
                    <a:pt x="1785251" y="7144"/>
                    <a:pt x="1784898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133"/>
                <a:t>Tekst</a:t>
              </a:r>
            </a:p>
          </p:txBody>
        </p:sp>
        <p:sp>
          <p:nvSpPr>
            <p:cNvPr id="35" name="Frihåndsform: figur 34">
              <a:extLst>
                <a:ext uri="{FF2B5EF4-FFF2-40B4-BE49-F238E27FC236}">
                  <a16:creationId xmlns:a16="http://schemas.microsoft.com/office/drawing/2014/main" id="{A741DB5D-A396-4224-939A-D341B5BA6B52}"/>
                </a:ext>
              </a:extLst>
            </p:cNvPr>
            <p:cNvSpPr/>
            <p:nvPr/>
          </p:nvSpPr>
          <p:spPr>
            <a:xfrm>
              <a:off x="7367676" y="2305744"/>
              <a:ext cx="923925" cy="733425"/>
            </a:xfrm>
            <a:custGeom>
              <a:avLst/>
              <a:gdLst>
                <a:gd name="connsiteX0" fmla="*/ 34201 w 923925"/>
                <a:gd name="connsiteY0" fmla="*/ 7150 h 733425"/>
                <a:gd name="connsiteX1" fmla="*/ 7150 w 923925"/>
                <a:gd name="connsiteY1" fmla="*/ 33046 h 733425"/>
                <a:gd name="connsiteX2" fmla="*/ 7150 w 923925"/>
                <a:gd name="connsiteY2" fmla="*/ 34201 h 733425"/>
                <a:gd name="connsiteX3" fmla="*/ 7150 w 923925"/>
                <a:gd name="connsiteY3" fmla="*/ 706095 h 733425"/>
                <a:gd name="connsiteX4" fmla="*/ 32948 w 923925"/>
                <a:gd name="connsiteY4" fmla="*/ 733053 h 733425"/>
                <a:gd name="connsiteX5" fmla="*/ 34201 w 923925"/>
                <a:gd name="connsiteY5" fmla="*/ 733050 h 733425"/>
                <a:gd name="connsiteX6" fmla="*/ 895928 w 923925"/>
                <a:gd name="connsiteY6" fmla="*/ 733050 h 733425"/>
                <a:gd name="connsiteX7" fmla="*/ 922884 w 923925"/>
                <a:gd name="connsiteY7" fmla="*/ 707250 h 733425"/>
                <a:gd name="connsiteX8" fmla="*/ 922884 w 923925"/>
                <a:gd name="connsiteY8" fmla="*/ 706095 h 733425"/>
                <a:gd name="connsiteX9" fmla="*/ 922884 w 923925"/>
                <a:gd name="connsiteY9" fmla="*/ 34201 h 733425"/>
                <a:gd name="connsiteX10" fmla="*/ 896987 w 923925"/>
                <a:gd name="connsiteY10" fmla="*/ 7152 h 733425"/>
                <a:gd name="connsiteX11" fmla="*/ 895928 w 923925"/>
                <a:gd name="connsiteY11" fmla="*/ 715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23925" h="733425">
                  <a:moveTo>
                    <a:pt x="34201" y="7150"/>
                  </a:moveTo>
                  <a:cubicBezTo>
                    <a:pt x="19581" y="6831"/>
                    <a:pt x="7469" y="18425"/>
                    <a:pt x="7150" y="33046"/>
                  </a:cubicBezTo>
                  <a:cubicBezTo>
                    <a:pt x="7142" y="33431"/>
                    <a:pt x="7142" y="33816"/>
                    <a:pt x="7150" y="34201"/>
                  </a:cubicBezTo>
                  <a:lnTo>
                    <a:pt x="7150" y="706095"/>
                  </a:lnTo>
                  <a:cubicBezTo>
                    <a:pt x="6830" y="720663"/>
                    <a:pt x="18380" y="732732"/>
                    <a:pt x="32948" y="733053"/>
                  </a:cubicBezTo>
                  <a:cubicBezTo>
                    <a:pt x="33366" y="733062"/>
                    <a:pt x="33784" y="733061"/>
                    <a:pt x="34201" y="733050"/>
                  </a:cubicBezTo>
                  <a:lnTo>
                    <a:pt x="895928" y="733050"/>
                  </a:lnTo>
                  <a:cubicBezTo>
                    <a:pt x="910496" y="733370"/>
                    <a:pt x="922565" y="721819"/>
                    <a:pt x="922884" y="707250"/>
                  </a:cubicBezTo>
                  <a:cubicBezTo>
                    <a:pt x="922893" y="706865"/>
                    <a:pt x="922893" y="706480"/>
                    <a:pt x="922884" y="706095"/>
                  </a:cubicBezTo>
                  <a:lnTo>
                    <a:pt x="922884" y="34201"/>
                  </a:lnTo>
                  <a:cubicBezTo>
                    <a:pt x="923202" y="19580"/>
                    <a:pt x="911607" y="7470"/>
                    <a:pt x="896987" y="7152"/>
                  </a:cubicBezTo>
                  <a:cubicBezTo>
                    <a:pt x="896634" y="7144"/>
                    <a:pt x="896281" y="7144"/>
                    <a:pt x="895928" y="7150"/>
                  </a:cubicBezTo>
                  <a:close/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nb-NO" sz="2489"/>
                <a:t>Tekst</a:t>
              </a:r>
            </a:p>
          </p:txBody>
        </p:sp>
      </p:grpSp>
      <p:grpSp>
        <p:nvGrpSpPr>
          <p:cNvPr id="36" name="i11" hidden="1">
            <a:extLst>
              <a:ext uri="{FF2B5EF4-FFF2-40B4-BE49-F238E27FC236}">
                <a16:creationId xmlns:a16="http://schemas.microsoft.com/office/drawing/2014/main" id="{91AF6F5B-5653-42D4-B5A8-CDB3D4FFA3B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19900" y="2451591"/>
            <a:ext cx="13814617" cy="4243641"/>
            <a:chOff x="562376" y="1235894"/>
            <a:chExt cx="7771481" cy="2387048"/>
          </a:xfrm>
        </p:grpSpPr>
        <p:sp>
          <p:nvSpPr>
            <p:cNvPr id="37" name="Frihåndsform: figur 36">
              <a:extLst>
                <a:ext uri="{FF2B5EF4-FFF2-40B4-BE49-F238E27FC236}">
                  <a16:creationId xmlns:a16="http://schemas.microsoft.com/office/drawing/2014/main" id="{FABAE1B6-2221-4995-AFA8-AAF386447FA3}"/>
                </a:ext>
              </a:extLst>
            </p:cNvPr>
            <p:cNvSpPr/>
            <p:nvPr/>
          </p:nvSpPr>
          <p:spPr>
            <a:xfrm>
              <a:off x="1057108" y="1729227"/>
              <a:ext cx="7274715" cy="38154"/>
            </a:xfrm>
            <a:custGeom>
              <a:avLst/>
              <a:gdLst>
                <a:gd name="connsiteX0" fmla="*/ 19077 w 7274714"/>
                <a:gd name="connsiteY0" fmla="*/ 19077 h 38154"/>
                <a:gd name="connsiteX1" fmla="*/ 7258690 w 7274714"/>
                <a:gd name="connsiteY1" fmla="*/ 19077 h 3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74714" h="38154">
                  <a:moveTo>
                    <a:pt x="19077" y="19077"/>
                  </a:moveTo>
                  <a:lnTo>
                    <a:pt x="7258690" y="19077"/>
                  </a:lnTo>
                </a:path>
              </a:pathLst>
            </a:custGeom>
            <a:ln w="19050" cap="flat">
              <a:solidFill>
                <a:srgbClr val="F4A51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38" name="Frihåndsform: figur 37">
              <a:extLst>
                <a:ext uri="{FF2B5EF4-FFF2-40B4-BE49-F238E27FC236}">
                  <a16:creationId xmlns:a16="http://schemas.microsoft.com/office/drawing/2014/main" id="{C28E85BE-94F0-4879-BF96-EE9792D6DEB2}"/>
                </a:ext>
              </a:extLst>
            </p:cNvPr>
            <p:cNvSpPr/>
            <p:nvPr/>
          </p:nvSpPr>
          <p:spPr>
            <a:xfrm>
              <a:off x="8232113" y="1669070"/>
              <a:ext cx="101744" cy="152616"/>
            </a:xfrm>
            <a:custGeom>
              <a:avLst/>
              <a:gdLst>
                <a:gd name="connsiteX0" fmla="*/ 19077 w 101744"/>
                <a:gd name="connsiteY0" fmla="*/ 19077 h 152616"/>
                <a:gd name="connsiteX1" fmla="*/ 83685 w 101744"/>
                <a:gd name="connsiteY1" fmla="*/ 79233 h 152616"/>
                <a:gd name="connsiteX2" fmla="*/ 19077 w 101744"/>
                <a:gd name="connsiteY2" fmla="*/ 139262 h 15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744" h="152616">
                  <a:moveTo>
                    <a:pt x="19077" y="19077"/>
                  </a:moveTo>
                  <a:lnTo>
                    <a:pt x="83685" y="79233"/>
                  </a:lnTo>
                  <a:lnTo>
                    <a:pt x="19077" y="139262"/>
                  </a:lnTo>
                </a:path>
              </a:pathLst>
            </a:custGeom>
            <a:noFill/>
            <a:ln w="19050" cap="flat">
              <a:solidFill>
                <a:srgbClr val="F4A51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39" name="Frihåndsform: figur 38">
              <a:extLst>
                <a:ext uri="{FF2B5EF4-FFF2-40B4-BE49-F238E27FC236}">
                  <a16:creationId xmlns:a16="http://schemas.microsoft.com/office/drawing/2014/main" id="{A2558F91-5F03-4B8A-8963-A443E5AAE54F}"/>
                </a:ext>
              </a:extLst>
            </p:cNvPr>
            <p:cNvSpPr/>
            <p:nvPr/>
          </p:nvSpPr>
          <p:spPr>
            <a:xfrm>
              <a:off x="1057108" y="3100612"/>
              <a:ext cx="7274715" cy="38154"/>
            </a:xfrm>
            <a:custGeom>
              <a:avLst/>
              <a:gdLst>
                <a:gd name="connsiteX0" fmla="*/ 19077 w 7274714"/>
                <a:gd name="connsiteY0" fmla="*/ 19077 h 38154"/>
                <a:gd name="connsiteX1" fmla="*/ 7258690 w 7274714"/>
                <a:gd name="connsiteY1" fmla="*/ 19077 h 3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74714" h="38154">
                  <a:moveTo>
                    <a:pt x="19077" y="19077"/>
                  </a:moveTo>
                  <a:lnTo>
                    <a:pt x="7258690" y="19077"/>
                  </a:lnTo>
                </a:path>
              </a:pathLst>
            </a:custGeom>
            <a:ln w="19050" cap="flat">
              <a:solidFill>
                <a:srgbClr val="E5E6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40" name="Frihåndsform: figur 39">
              <a:extLst>
                <a:ext uri="{FF2B5EF4-FFF2-40B4-BE49-F238E27FC236}">
                  <a16:creationId xmlns:a16="http://schemas.microsoft.com/office/drawing/2014/main" id="{8B68E9BD-26FD-4EF6-B54A-C127F9A782D2}"/>
                </a:ext>
              </a:extLst>
            </p:cNvPr>
            <p:cNvSpPr/>
            <p:nvPr/>
          </p:nvSpPr>
          <p:spPr>
            <a:xfrm>
              <a:off x="8232113" y="3040583"/>
              <a:ext cx="101744" cy="152616"/>
            </a:xfrm>
            <a:custGeom>
              <a:avLst/>
              <a:gdLst>
                <a:gd name="connsiteX0" fmla="*/ 19077 w 101744"/>
                <a:gd name="connsiteY0" fmla="*/ 19077 h 152616"/>
                <a:gd name="connsiteX1" fmla="*/ 83685 w 101744"/>
                <a:gd name="connsiteY1" fmla="*/ 79106 h 152616"/>
                <a:gd name="connsiteX2" fmla="*/ 19077 w 101744"/>
                <a:gd name="connsiteY2" fmla="*/ 139262 h 152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744" h="152616">
                  <a:moveTo>
                    <a:pt x="19077" y="19077"/>
                  </a:moveTo>
                  <a:lnTo>
                    <a:pt x="83685" y="79106"/>
                  </a:lnTo>
                  <a:lnTo>
                    <a:pt x="19077" y="139262"/>
                  </a:lnTo>
                </a:path>
              </a:pathLst>
            </a:custGeom>
            <a:noFill/>
            <a:ln w="19050" cap="flat">
              <a:solidFill>
                <a:srgbClr val="E5E6E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41" name="Frihåndsform: figur 40">
              <a:extLst>
                <a:ext uri="{FF2B5EF4-FFF2-40B4-BE49-F238E27FC236}">
                  <a16:creationId xmlns:a16="http://schemas.microsoft.com/office/drawing/2014/main" id="{655CFB21-0268-40C2-BB59-A78738DD5F06}"/>
                </a:ext>
              </a:extLst>
            </p:cNvPr>
            <p:cNvSpPr/>
            <p:nvPr/>
          </p:nvSpPr>
          <p:spPr>
            <a:xfrm>
              <a:off x="562376" y="1235894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79" y="1018403"/>
                    <a:pt x="1018263" y="792634"/>
                    <a:pt x="1018333" y="514063"/>
                  </a:cubicBezTo>
                  <a:cubicBezTo>
                    <a:pt x="1018403" y="235492"/>
                    <a:pt x="792634" y="9609"/>
                    <a:pt x="514063" y="9539"/>
                  </a:cubicBezTo>
                  <a:cubicBezTo>
                    <a:pt x="235492" y="9468"/>
                    <a:pt x="9609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8" y="1018333"/>
                    <a:pt x="513809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2" name="Frihåndsform: figur 41">
              <a:extLst>
                <a:ext uri="{FF2B5EF4-FFF2-40B4-BE49-F238E27FC236}">
                  <a16:creationId xmlns:a16="http://schemas.microsoft.com/office/drawing/2014/main" id="{548B9536-DA9E-414A-A4A7-37C1678D17F7}"/>
                </a:ext>
              </a:extLst>
            </p:cNvPr>
            <p:cNvSpPr/>
            <p:nvPr/>
          </p:nvSpPr>
          <p:spPr>
            <a:xfrm>
              <a:off x="562376" y="2605499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317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79" y="1018409"/>
                    <a:pt x="1018263" y="792639"/>
                    <a:pt x="1018333" y="514063"/>
                  </a:cubicBezTo>
                  <a:cubicBezTo>
                    <a:pt x="1018403" y="235487"/>
                    <a:pt x="792634" y="9615"/>
                    <a:pt x="514063" y="9539"/>
                  </a:cubicBezTo>
                  <a:cubicBezTo>
                    <a:pt x="235492" y="9462"/>
                    <a:pt x="9609" y="235233"/>
                    <a:pt x="9539" y="513809"/>
                  </a:cubicBezTo>
                  <a:cubicBezTo>
                    <a:pt x="9538" y="513974"/>
                    <a:pt x="9539" y="514152"/>
                    <a:pt x="9539" y="514317"/>
                  </a:cubicBezTo>
                  <a:cubicBezTo>
                    <a:pt x="9679" y="792715"/>
                    <a:pt x="235407" y="1018333"/>
                    <a:pt x="513809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3" name="Frihåndsform: figur 42">
              <a:extLst>
                <a:ext uri="{FF2B5EF4-FFF2-40B4-BE49-F238E27FC236}">
                  <a16:creationId xmlns:a16="http://schemas.microsoft.com/office/drawing/2014/main" id="{3E817AE0-0E94-4341-A9B2-51F2ABA91CE4}"/>
                </a:ext>
              </a:extLst>
            </p:cNvPr>
            <p:cNvSpPr/>
            <p:nvPr/>
          </p:nvSpPr>
          <p:spPr>
            <a:xfrm>
              <a:off x="1834180" y="1235895"/>
              <a:ext cx="1017443" cy="1017443"/>
            </a:xfrm>
            <a:custGeom>
              <a:avLst/>
              <a:gdLst>
                <a:gd name="connsiteX0" fmla="*/ 513300 w 1017442"/>
                <a:gd name="connsiteY0" fmla="*/ 1018332 h 1017442"/>
                <a:gd name="connsiteX1" fmla="*/ 1018333 w 1017442"/>
                <a:gd name="connsiteY1" fmla="*/ 514571 h 1017442"/>
                <a:gd name="connsiteX2" fmla="*/ 514572 w 1017442"/>
                <a:gd name="connsiteY2" fmla="*/ 9539 h 1017442"/>
                <a:gd name="connsiteX3" fmla="*/ 9539 w 1017442"/>
                <a:gd name="connsiteY3" fmla="*/ 513299 h 1017442"/>
                <a:gd name="connsiteX4" fmla="*/ 9539 w 1017442"/>
                <a:gd name="connsiteY4" fmla="*/ 514063 h 1017442"/>
                <a:gd name="connsiteX5" fmla="*/ 513808 w 1017442"/>
                <a:gd name="connsiteY5" fmla="*/ 1018332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300" y="1018332"/>
                  </a:moveTo>
                  <a:cubicBezTo>
                    <a:pt x="791876" y="1018684"/>
                    <a:pt x="1017977" y="793142"/>
                    <a:pt x="1018333" y="514571"/>
                  </a:cubicBezTo>
                  <a:cubicBezTo>
                    <a:pt x="1018689" y="236001"/>
                    <a:pt x="793147" y="9890"/>
                    <a:pt x="514572" y="9539"/>
                  </a:cubicBezTo>
                  <a:cubicBezTo>
                    <a:pt x="235996" y="9188"/>
                    <a:pt x="9895" y="234729"/>
                    <a:pt x="9539" y="513299"/>
                  </a:cubicBezTo>
                  <a:cubicBezTo>
                    <a:pt x="9539" y="513554"/>
                    <a:pt x="9539" y="513808"/>
                    <a:pt x="9539" y="514063"/>
                  </a:cubicBezTo>
                  <a:cubicBezTo>
                    <a:pt x="9615" y="792534"/>
                    <a:pt x="235334" y="1018263"/>
                    <a:pt x="513808" y="1018332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4" name="Frihåndsform: figur 43">
              <a:extLst>
                <a:ext uri="{FF2B5EF4-FFF2-40B4-BE49-F238E27FC236}">
                  <a16:creationId xmlns:a16="http://schemas.microsoft.com/office/drawing/2014/main" id="{137CC9C9-D188-4828-B5D4-C3EECC5BDAB5}"/>
                </a:ext>
              </a:extLst>
            </p:cNvPr>
            <p:cNvSpPr/>
            <p:nvPr/>
          </p:nvSpPr>
          <p:spPr>
            <a:xfrm>
              <a:off x="1834180" y="2605499"/>
              <a:ext cx="1017443" cy="1017443"/>
            </a:xfrm>
            <a:custGeom>
              <a:avLst/>
              <a:gdLst>
                <a:gd name="connsiteX0" fmla="*/ 513300 w 1017442"/>
                <a:gd name="connsiteY0" fmla="*/ 1018333 h 1017442"/>
                <a:gd name="connsiteX1" fmla="*/ 1018333 w 1017442"/>
                <a:gd name="connsiteY1" fmla="*/ 514572 h 1017442"/>
                <a:gd name="connsiteX2" fmla="*/ 514572 w 1017442"/>
                <a:gd name="connsiteY2" fmla="*/ 9539 h 1017442"/>
                <a:gd name="connsiteX3" fmla="*/ 9539 w 1017442"/>
                <a:gd name="connsiteY3" fmla="*/ 513300 h 1017442"/>
                <a:gd name="connsiteX4" fmla="*/ 9539 w 1017442"/>
                <a:gd name="connsiteY4" fmla="*/ 514318 h 1017442"/>
                <a:gd name="connsiteX5" fmla="*/ 513300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300" y="1018333"/>
                  </a:moveTo>
                  <a:cubicBezTo>
                    <a:pt x="791876" y="1018689"/>
                    <a:pt x="1017977" y="793148"/>
                    <a:pt x="1018333" y="514572"/>
                  </a:cubicBezTo>
                  <a:cubicBezTo>
                    <a:pt x="1018689" y="235996"/>
                    <a:pt x="793147" y="9895"/>
                    <a:pt x="514572" y="9539"/>
                  </a:cubicBezTo>
                  <a:cubicBezTo>
                    <a:pt x="235996" y="9183"/>
                    <a:pt x="9895" y="234724"/>
                    <a:pt x="9539" y="513300"/>
                  </a:cubicBezTo>
                  <a:cubicBezTo>
                    <a:pt x="9539" y="513644"/>
                    <a:pt x="9539" y="513974"/>
                    <a:pt x="9539" y="514318"/>
                  </a:cubicBezTo>
                  <a:cubicBezTo>
                    <a:pt x="9755" y="792487"/>
                    <a:pt x="235131" y="1017977"/>
                    <a:pt x="513300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5" name="Frihåndsform: figur 44">
              <a:extLst>
                <a:ext uri="{FF2B5EF4-FFF2-40B4-BE49-F238E27FC236}">
                  <a16:creationId xmlns:a16="http://schemas.microsoft.com/office/drawing/2014/main" id="{FAC48A38-7287-4F54-AA40-1088DA8963EF}"/>
                </a:ext>
              </a:extLst>
            </p:cNvPr>
            <p:cNvSpPr/>
            <p:nvPr/>
          </p:nvSpPr>
          <p:spPr>
            <a:xfrm>
              <a:off x="3104966" y="1235894"/>
              <a:ext cx="1017443" cy="1017443"/>
            </a:xfrm>
            <a:custGeom>
              <a:avLst/>
              <a:gdLst>
                <a:gd name="connsiteX0" fmla="*/ 513936 w 1017442"/>
                <a:gd name="connsiteY0" fmla="*/ 1018333 h 1017442"/>
                <a:gd name="connsiteX1" fmla="*/ 1018333 w 1017442"/>
                <a:gd name="connsiteY1" fmla="*/ 513936 h 1017442"/>
                <a:gd name="connsiteX2" fmla="*/ 513936 w 1017442"/>
                <a:gd name="connsiteY2" fmla="*/ 9539 h 1017442"/>
                <a:gd name="connsiteX3" fmla="*/ 9539 w 1017442"/>
                <a:gd name="connsiteY3" fmla="*/ 513936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  <a:gd name="connsiteX6" fmla="*/ 513936 w 1017442"/>
                <a:gd name="connsiteY6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442" h="1017442">
                  <a:moveTo>
                    <a:pt x="513936" y="1018333"/>
                  </a:moveTo>
                  <a:cubicBezTo>
                    <a:pt x="792512" y="1018333"/>
                    <a:pt x="1018333" y="792506"/>
                    <a:pt x="1018333" y="513936"/>
                  </a:cubicBezTo>
                  <a:cubicBezTo>
                    <a:pt x="1018333" y="235365"/>
                    <a:pt x="792512" y="9539"/>
                    <a:pt x="513936" y="9539"/>
                  </a:cubicBezTo>
                  <a:cubicBezTo>
                    <a:pt x="235360" y="9539"/>
                    <a:pt x="9539" y="235365"/>
                    <a:pt x="9539" y="513936"/>
                  </a:cubicBezTo>
                  <a:cubicBezTo>
                    <a:pt x="9539" y="513978"/>
                    <a:pt x="9539" y="514021"/>
                    <a:pt x="9539" y="514063"/>
                  </a:cubicBezTo>
                  <a:cubicBezTo>
                    <a:pt x="9539" y="792564"/>
                    <a:pt x="235309" y="1018333"/>
                    <a:pt x="513809" y="1018333"/>
                  </a:cubicBezTo>
                  <a:cubicBezTo>
                    <a:pt x="513847" y="1018333"/>
                    <a:pt x="513898" y="1018333"/>
                    <a:pt x="513936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6" name="Frihåndsform: figur 45">
              <a:extLst>
                <a:ext uri="{FF2B5EF4-FFF2-40B4-BE49-F238E27FC236}">
                  <a16:creationId xmlns:a16="http://schemas.microsoft.com/office/drawing/2014/main" id="{51F1C1C1-6301-456B-9B5A-8E7C62331700}"/>
                </a:ext>
              </a:extLst>
            </p:cNvPr>
            <p:cNvSpPr/>
            <p:nvPr/>
          </p:nvSpPr>
          <p:spPr>
            <a:xfrm>
              <a:off x="3104966" y="2605499"/>
              <a:ext cx="1017443" cy="1017443"/>
            </a:xfrm>
            <a:custGeom>
              <a:avLst/>
              <a:gdLst>
                <a:gd name="connsiteX0" fmla="*/ 513936 w 1017442"/>
                <a:gd name="connsiteY0" fmla="*/ 1018333 h 1017442"/>
                <a:gd name="connsiteX1" fmla="*/ 1018333 w 1017442"/>
                <a:gd name="connsiteY1" fmla="*/ 513936 h 1017442"/>
                <a:gd name="connsiteX2" fmla="*/ 513936 w 1017442"/>
                <a:gd name="connsiteY2" fmla="*/ 9539 h 1017442"/>
                <a:gd name="connsiteX3" fmla="*/ 9539 w 1017442"/>
                <a:gd name="connsiteY3" fmla="*/ 513936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  <a:gd name="connsiteX6" fmla="*/ 513936 w 1017442"/>
                <a:gd name="connsiteY6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442" h="1017442">
                  <a:moveTo>
                    <a:pt x="513936" y="1018333"/>
                  </a:moveTo>
                  <a:cubicBezTo>
                    <a:pt x="792512" y="1018333"/>
                    <a:pt x="1018333" y="792512"/>
                    <a:pt x="1018333" y="513936"/>
                  </a:cubicBezTo>
                  <a:cubicBezTo>
                    <a:pt x="1018333" y="235360"/>
                    <a:pt x="792512" y="9539"/>
                    <a:pt x="513936" y="9539"/>
                  </a:cubicBezTo>
                  <a:cubicBezTo>
                    <a:pt x="235360" y="9539"/>
                    <a:pt x="9539" y="235360"/>
                    <a:pt x="9539" y="513936"/>
                  </a:cubicBezTo>
                  <a:cubicBezTo>
                    <a:pt x="9539" y="513974"/>
                    <a:pt x="9539" y="514025"/>
                    <a:pt x="9539" y="514063"/>
                  </a:cubicBezTo>
                  <a:cubicBezTo>
                    <a:pt x="9539" y="792562"/>
                    <a:pt x="235309" y="1018333"/>
                    <a:pt x="513809" y="1018333"/>
                  </a:cubicBezTo>
                  <a:cubicBezTo>
                    <a:pt x="513847" y="1018333"/>
                    <a:pt x="513898" y="1018333"/>
                    <a:pt x="513936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7" name="Frihåndsform: figur 46">
              <a:extLst>
                <a:ext uri="{FF2B5EF4-FFF2-40B4-BE49-F238E27FC236}">
                  <a16:creationId xmlns:a16="http://schemas.microsoft.com/office/drawing/2014/main" id="{989E4FF5-0F0E-4C8B-A5A4-BB5A6415E643}"/>
                </a:ext>
              </a:extLst>
            </p:cNvPr>
            <p:cNvSpPr/>
            <p:nvPr/>
          </p:nvSpPr>
          <p:spPr>
            <a:xfrm>
              <a:off x="4376388" y="1235894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3"/>
                    <a:pt x="1018257" y="792634"/>
                    <a:pt x="1018333" y="514063"/>
                  </a:cubicBezTo>
                  <a:cubicBezTo>
                    <a:pt x="1018409" y="235492"/>
                    <a:pt x="792638" y="9609"/>
                    <a:pt x="514063" y="9539"/>
                  </a:cubicBezTo>
                  <a:cubicBezTo>
                    <a:pt x="235487" y="9468"/>
                    <a:pt x="9615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9" y="1018333"/>
                    <a:pt x="513808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8" name="Frihåndsform: figur 47">
              <a:extLst>
                <a:ext uri="{FF2B5EF4-FFF2-40B4-BE49-F238E27FC236}">
                  <a16:creationId xmlns:a16="http://schemas.microsoft.com/office/drawing/2014/main" id="{BF5EDFB4-560A-499F-944C-850F10562240}"/>
                </a:ext>
              </a:extLst>
            </p:cNvPr>
            <p:cNvSpPr/>
            <p:nvPr/>
          </p:nvSpPr>
          <p:spPr>
            <a:xfrm>
              <a:off x="4376388" y="2605499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9"/>
                    <a:pt x="1018257" y="792639"/>
                    <a:pt x="1018333" y="514063"/>
                  </a:cubicBezTo>
                  <a:cubicBezTo>
                    <a:pt x="1018409" y="235487"/>
                    <a:pt x="792638" y="9615"/>
                    <a:pt x="514063" y="9539"/>
                  </a:cubicBezTo>
                  <a:cubicBezTo>
                    <a:pt x="235487" y="9462"/>
                    <a:pt x="9615" y="235233"/>
                    <a:pt x="9539" y="513809"/>
                  </a:cubicBezTo>
                  <a:cubicBezTo>
                    <a:pt x="9539" y="513898"/>
                    <a:pt x="9539" y="513974"/>
                    <a:pt x="9539" y="514063"/>
                  </a:cubicBezTo>
                  <a:cubicBezTo>
                    <a:pt x="9539" y="792562"/>
                    <a:pt x="235309" y="1018333"/>
                    <a:pt x="513808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49" name="Frihåndsform: figur 48">
              <a:extLst>
                <a:ext uri="{FF2B5EF4-FFF2-40B4-BE49-F238E27FC236}">
                  <a16:creationId xmlns:a16="http://schemas.microsoft.com/office/drawing/2014/main" id="{63887DF1-9455-478D-B015-94CE13729BFB}"/>
                </a:ext>
              </a:extLst>
            </p:cNvPr>
            <p:cNvSpPr/>
            <p:nvPr/>
          </p:nvSpPr>
          <p:spPr>
            <a:xfrm>
              <a:off x="5647682" y="1235894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3"/>
                    <a:pt x="1018257" y="792634"/>
                    <a:pt x="1018333" y="514063"/>
                  </a:cubicBezTo>
                  <a:cubicBezTo>
                    <a:pt x="1018409" y="235492"/>
                    <a:pt x="792639" y="9609"/>
                    <a:pt x="514063" y="9539"/>
                  </a:cubicBezTo>
                  <a:cubicBezTo>
                    <a:pt x="235487" y="9468"/>
                    <a:pt x="9602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9" y="1018333"/>
                    <a:pt x="513808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50" name="Frihåndsform: figur 49">
              <a:extLst>
                <a:ext uri="{FF2B5EF4-FFF2-40B4-BE49-F238E27FC236}">
                  <a16:creationId xmlns:a16="http://schemas.microsoft.com/office/drawing/2014/main" id="{73088428-7569-4D75-8D81-0DF9887C7B4E}"/>
                </a:ext>
              </a:extLst>
            </p:cNvPr>
            <p:cNvSpPr/>
            <p:nvPr/>
          </p:nvSpPr>
          <p:spPr>
            <a:xfrm>
              <a:off x="5647682" y="2605499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9"/>
                    <a:pt x="1018257" y="792639"/>
                    <a:pt x="1018333" y="514063"/>
                  </a:cubicBezTo>
                  <a:cubicBezTo>
                    <a:pt x="1018409" y="235487"/>
                    <a:pt x="792639" y="9615"/>
                    <a:pt x="514063" y="9539"/>
                  </a:cubicBezTo>
                  <a:cubicBezTo>
                    <a:pt x="235487" y="9462"/>
                    <a:pt x="9602" y="235233"/>
                    <a:pt x="9539" y="513809"/>
                  </a:cubicBezTo>
                  <a:cubicBezTo>
                    <a:pt x="9539" y="513898"/>
                    <a:pt x="9539" y="513974"/>
                    <a:pt x="9539" y="514063"/>
                  </a:cubicBezTo>
                  <a:cubicBezTo>
                    <a:pt x="9539" y="792562"/>
                    <a:pt x="235309" y="1018333"/>
                    <a:pt x="513808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51" name="Frihåndsform: figur 50">
              <a:extLst>
                <a:ext uri="{FF2B5EF4-FFF2-40B4-BE49-F238E27FC236}">
                  <a16:creationId xmlns:a16="http://schemas.microsoft.com/office/drawing/2014/main" id="{DE2DF65E-C461-4092-B301-C9312D0ACCE3}"/>
                </a:ext>
              </a:extLst>
            </p:cNvPr>
            <p:cNvSpPr/>
            <p:nvPr/>
          </p:nvSpPr>
          <p:spPr>
            <a:xfrm>
              <a:off x="6918976" y="1235894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85" y="1018403"/>
                    <a:pt x="1018269" y="792634"/>
                    <a:pt x="1018333" y="514063"/>
                  </a:cubicBezTo>
                  <a:cubicBezTo>
                    <a:pt x="1018397" y="235492"/>
                    <a:pt x="792638" y="9609"/>
                    <a:pt x="514063" y="9539"/>
                  </a:cubicBezTo>
                  <a:cubicBezTo>
                    <a:pt x="235487" y="9468"/>
                    <a:pt x="9602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9" y="1018333"/>
                    <a:pt x="513809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52" name="Frihåndsform: figur 51">
              <a:extLst>
                <a:ext uri="{FF2B5EF4-FFF2-40B4-BE49-F238E27FC236}">
                  <a16:creationId xmlns:a16="http://schemas.microsoft.com/office/drawing/2014/main" id="{CF085818-86D4-451A-9BEF-6A348675427C}"/>
                </a:ext>
              </a:extLst>
            </p:cNvPr>
            <p:cNvSpPr/>
            <p:nvPr/>
          </p:nvSpPr>
          <p:spPr>
            <a:xfrm>
              <a:off x="6918976" y="2605499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85" y="1018409"/>
                    <a:pt x="1018269" y="792639"/>
                    <a:pt x="1018333" y="514063"/>
                  </a:cubicBezTo>
                  <a:cubicBezTo>
                    <a:pt x="1018397" y="235487"/>
                    <a:pt x="792638" y="9615"/>
                    <a:pt x="514063" y="9539"/>
                  </a:cubicBezTo>
                  <a:cubicBezTo>
                    <a:pt x="235487" y="9462"/>
                    <a:pt x="9602" y="235233"/>
                    <a:pt x="9539" y="513809"/>
                  </a:cubicBezTo>
                  <a:cubicBezTo>
                    <a:pt x="9539" y="513898"/>
                    <a:pt x="9539" y="513974"/>
                    <a:pt x="9539" y="514063"/>
                  </a:cubicBezTo>
                  <a:cubicBezTo>
                    <a:pt x="9539" y="792562"/>
                    <a:pt x="235309" y="1018333"/>
                    <a:pt x="513809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</p:grpSp>
      <p:pic>
        <p:nvPicPr>
          <p:cNvPr id="53" name="i12" hidden="1">
            <a:extLst>
              <a:ext uri="{FF2B5EF4-FFF2-40B4-BE49-F238E27FC236}">
                <a16:creationId xmlns:a16="http://schemas.microsoft.com/office/drawing/2014/main" id="{22B7DBDB-531D-4E0D-A7B4-2679DF2B57E5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458407" y="3904547"/>
            <a:ext cx="1337603" cy="1337733"/>
          </a:xfrm>
          <a:prstGeom prst="rect">
            <a:avLst/>
          </a:prstGeom>
        </p:spPr>
      </p:pic>
      <p:pic>
        <p:nvPicPr>
          <p:cNvPr id="54" name="i13" hidden="1">
            <a:extLst>
              <a:ext uri="{FF2B5EF4-FFF2-40B4-BE49-F238E27FC236}">
                <a16:creationId xmlns:a16="http://schemas.microsoft.com/office/drawing/2014/main" id="{6ECC595C-3DB7-42C4-B196-8D24FF223CBB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7449940" y="3896078"/>
            <a:ext cx="1354534" cy="1354667"/>
          </a:xfrm>
          <a:prstGeom prst="rect">
            <a:avLst/>
          </a:prstGeom>
        </p:spPr>
      </p:pic>
      <p:grpSp>
        <p:nvGrpSpPr>
          <p:cNvPr id="55" name="i14" hidden="1">
            <a:extLst>
              <a:ext uri="{FF2B5EF4-FFF2-40B4-BE49-F238E27FC236}">
                <a16:creationId xmlns:a16="http://schemas.microsoft.com/office/drawing/2014/main" id="{F9651BE6-A768-4976-8704-08EDA26DB75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39885" y="3845278"/>
            <a:ext cx="1574646" cy="1456267"/>
            <a:chOff x="9119347" y="1797984"/>
            <a:chExt cx="885825" cy="819150"/>
          </a:xfrm>
        </p:grpSpPr>
        <p:sp>
          <p:nvSpPr>
            <p:cNvPr id="56" name="Frihåndsform: figur 55">
              <a:extLst>
                <a:ext uri="{FF2B5EF4-FFF2-40B4-BE49-F238E27FC236}">
                  <a16:creationId xmlns:a16="http://schemas.microsoft.com/office/drawing/2014/main" id="{7AE5FD2C-FF09-43A9-A7B3-BA7D2DA3C27B}"/>
                </a:ext>
              </a:extLst>
            </p:cNvPr>
            <p:cNvSpPr/>
            <p:nvPr/>
          </p:nvSpPr>
          <p:spPr>
            <a:xfrm>
              <a:off x="9239219" y="1844242"/>
              <a:ext cx="771525" cy="771525"/>
            </a:xfrm>
            <a:custGeom>
              <a:avLst/>
              <a:gdLst>
                <a:gd name="connsiteX0" fmla="*/ 118920 w 771525"/>
                <a:gd name="connsiteY0" fmla="*/ 657735 h 771525"/>
                <a:gd name="connsiteX1" fmla="*/ 118553 w 771525"/>
                <a:gd name="connsiteY1" fmla="*/ 118920 h 771525"/>
                <a:gd name="connsiteX2" fmla="*/ 657368 w 771525"/>
                <a:gd name="connsiteY2" fmla="*/ 118553 h 771525"/>
                <a:gd name="connsiteX3" fmla="*/ 710613 w 771525"/>
                <a:gd name="connsiteY3" fmla="*/ 591060 h 771525"/>
                <a:gd name="connsiteX4" fmla="*/ 761952 w 771525"/>
                <a:gd name="connsiteY4" fmla="*/ 744984 h 771525"/>
                <a:gd name="connsiteX5" fmla="*/ 744807 w 771525"/>
                <a:gd name="connsiteY5" fmla="*/ 762129 h 771525"/>
                <a:gd name="connsiteX6" fmla="*/ 590883 w 771525"/>
                <a:gd name="connsiteY6" fmla="*/ 710884 h 771525"/>
                <a:gd name="connsiteX7" fmla="*/ 118920 w 771525"/>
                <a:gd name="connsiteY7" fmla="*/ 657735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1525" h="771525">
                  <a:moveTo>
                    <a:pt x="118920" y="657735"/>
                  </a:moveTo>
                  <a:cubicBezTo>
                    <a:pt x="-29971" y="509046"/>
                    <a:pt x="-30136" y="267811"/>
                    <a:pt x="118553" y="118920"/>
                  </a:cubicBezTo>
                  <a:cubicBezTo>
                    <a:pt x="267241" y="-29971"/>
                    <a:pt x="508477" y="-30136"/>
                    <a:pt x="657368" y="118553"/>
                  </a:cubicBezTo>
                  <a:cubicBezTo>
                    <a:pt x="783282" y="244295"/>
                    <a:pt x="805385" y="440449"/>
                    <a:pt x="710613" y="591060"/>
                  </a:cubicBezTo>
                  <a:lnTo>
                    <a:pt x="761952" y="744984"/>
                  </a:lnTo>
                  <a:cubicBezTo>
                    <a:pt x="761952" y="744984"/>
                    <a:pt x="770430" y="770606"/>
                    <a:pt x="744807" y="762129"/>
                  </a:cubicBezTo>
                  <a:lnTo>
                    <a:pt x="590883" y="710884"/>
                  </a:lnTo>
                  <a:cubicBezTo>
                    <a:pt x="440415" y="805388"/>
                    <a:pt x="244601" y="783337"/>
                    <a:pt x="118920" y="657735"/>
                  </a:cubicBezTo>
                </a:path>
              </a:pathLst>
            </a:custGeom>
            <a:solidFill>
              <a:srgbClr val="FCD7A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57" name="Frihåndsform: figur 56">
              <a:extLst>
                <a:ext uri="{FF2B5EF4-FFF2-40B4-BE49-F238E27FC236}">
                  <a16:creationId xmlns:a16="http://schemas.microsoft.com/office/drawing/2014/main" id="{AFD0D298-D0E5-4D8A-8972-5D37905BA4DD}"/>
                </a:ext>
              </a:extLst>
            </p:cNvPr>
            <p:cNvSpPr/>
            <p:nvPr/>
          </p:nvSpPr>
          <p:spPr>
            <a:xfrm>
              <a:off x="9112053" y="1790331"/>
              <a:ext cx="771525" cy="771525"/>
            </a:xfrm>
            <a:custGeom>
              <a:avLst/>
              <a:gdLst>
                <a:gd name="connsiteX0" fmla="*/ 657376 w 771525"/>
                <a:gd name="connsiteY0" fmla="*/ 657735 h 771525"/>
                <a:gd name="connsiteX1" fmla="*/ 657742 w 771525"/>
                <a:gd name="connsiteY1" fmla="*/ 118920 h 771525"/>
                <a:gd name="connsiteX2" fmla="*/ 118927 w 771525"/>
                <a:gd name="connsiteY2" fmla="*/ 118553 h 771525"/>
                <a:gd name="connsiteX3" fmla="*/ 65683 w 771525"/>
                <a:gd name="connsiteY3" fmla="*/ 591060 h 771525"/>
                <a:gd name="connsiteX4" fmla="*/ 14343 w 771525"/>
                <a:gd name="connsiteY4" fmla="*/ 745079 h 771525"/>
                <a:gd name="connsiteX5" fmla="*/ 31393 w 771525"/>
                <a:gd name="connsiteY5" fmla="*/ 762224 h 771525"/>
                <a:gd name="connsiteX6" fmla="*/ 185412 w 771525"/>
                <a:gd name="connsiteY6" fmla="*/ 710884 h 771525"/>
                <a:gd name="connsiteX7" fmla="*/ 657376 w 771525"/>
                <a:gd name="connsiteY7" fmla="*/ 657735 h 77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1525" h="771525">
                  <a:moveTo>
                    <a:pt x="657376" y="657735"/>
                  </a:moveTo>
                  <a:cubicBezTo>
                    <a:pt x="806267" y="509046"/>
                    <a:pt x="806431" y="267811"/>
                    <a:pt x="657742" y="118920"/>
                  </a:cubicBezTo>
                  <a:cubicBezTo>
                    <a:pt x="509054" y="-29971"/>
                    <a:pt x="267818" y="-30136"/>
                    <a:pt x="118927" y="118553"/>
                  </a:cubicBezTo>
                  <a:cubicBezTo>
                    <a:pt x="-6986" y="244295"/>
                    <a:pt x="-29090" y="440449"/>
                    <a:pt x="65683" y="591060"/>
                  </a:cubicBezTo>
                  <a:lnTo>
                    <a:pt x="14343" y="745079"/>
                  </a:lnTo>
                  <a:cubicBezTo>
                    <a:pt x="14343" y="745079"/>
                    <a:pt x="5770" y="770701"/>
                    <a:pt x="31393" y="762224"/>
                  </a:cubicBezTo>
                  <a:lnTo>
                    <a:pt x="185412" y="710884"/>
                  </a:lnTo>
                  <a:cubicBezTo>
                    <a:pt x="335880" y="805388"/>
                    <a:pt x="531695" y="783337"/>
                    <a:pt x="657376" y="65773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58" name="Frihåndsform: figur 57">
              <a:extLst>
                <a:ext uri="{FF2B5EF4-FFF2-40B4-BE49-F238E27FC236}">
                  <a16:creationId xmlns:a16="http://schemas.microsoft.com/office/drawing/2014/main" id="{4E59BEA9-68E6-4DB2-A294-452C9F0430C1}"/>
                </a:ext>
              </a:extLst>
            </p:cNvPr>
            <p:cNvSpPr/>
            <p:nvPr/>
          </p:nvSpPr>
          <p:spPr>
            <a:xfrm>
              <a:off x="9316991" y="2141170"/>
              <a:ext cx="76200" cy="76200"/>
            </a:xfrm>
            <a:custGeom>
              <a:avLst/>
              <a:gdLst>
                <a:gd name="connsiteX0" fmla="*/ 42005 w 76200"/>
                <a:gd name="connsiteY0" fmla="*/ 77057 h 76200"/>
                <a:gd name="connsiteX1" fmla="*/ 77057 w 76200"/>
                <a:gd name="connsiteY1" fmla="*/ 42196 h 76200"/>
                <a:gd name="connsiteX2" fmla="*/ 42196 w 76200"/>
                <a:gd name="connsiteY2" fmla="*/ 7144 h 76200"/>
                <a:gd name="connsiteX3" fmla="*/ 7144 w 76200"/>
                <a:gd name="connsiteY3" fmla="*/ 42005 h 76200"/>
                <a:gd name="connsiteX4" fmla="*/ 7144 w 76200"/>
                <a:gd name="connsiteY4" fmla="*/ 42196 h 76200"/>
                <a:gd name="connsiteX5" fmla="*/ 42005 w 76200"/>
                <a:gd name="connsiteY5" fmla="*/ 7705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0" h="76200">
                  <a:moveTo>
                    <a:pt x="42005" y="77057"/>
                  </a:moveTo>
                  <a:cubicBezTo>
                    <a:pt x="61311" y="77110"/>
                    <a:pt x="77005" y="61502"/>
                    <a:pt x="77057" y="42196"/>
                  </a:cubicBezTo>
                  <a:cubicBezTo>
                    <a:pt x="77110" y="22890"/>
                    <a:pt x="61502" y="7196"/>
                    <a:pt x="42196" y="7144"/>
                  </a:cubicBezTo>
                  <a:cubicBezTo>
                    <a:pt x="22890" y="7091"/>
                    <a:pt x="7196" y="22699"/>
                    <a:pt x="7144" y="42005"/>
                  </a:cubicBezTo>
                  <a:cubicBezTo>
                    <a:pt x="7144" y="42069"/>
                    <a:pt x="7144" y="42132"/>
                    <a:pt x="7144" y="42196"/>
                  </a:cubicBezTo>
                  <a:cubicBezTo>
                    <a:pt x="7144" y="61449"/>
                    <a:pt x="22752" y="77057"/>
                    <a:pt x="42005" y="7705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59" name="Frihåndsform: figur 58">
              <a:extLst>
                <a:ext uri="{FF2B5EF4-FFF2-40B4-BE49-F238E27FC236}">
                  <a16:creationId xmlns:a16="http://schemas.microsoft.com/office/drawing/2014/main" id="{F029081A-3844-4472-B4E8-D787F8854FDB}"/>
                </a:ext>
              </a:extLst>
            </p:cNvPr>
            <p:cNvSpPr/>
            <p:nvPr/>
          </p:nvSpPr>
          <p:spPr>
            <a:xfrm>
              <a:off x="9458342" y="2141170"/>
              <a:ext cx="76200" cy="76200"/>
            </a:xfrm>
            <a:custGeom>
              <a:avLst/>
              <a:gdLst>
                <a:gd name="connsiteX0" fmla="*/ 42005 w 76200"/>
                <a:gd name="connsiteY0" fmla="*/ 77057 h 76200"/>
                <a:gd name="connsiteX1" fmla="*/ 77057 w 76200"/>
                <a:gd name="connsiteY1" fmla="*/ 42196 h 76200"/>
                <a:gd name="connsiteX2" fmla="*/ 42196 w 76200"/>
                <a:gd name="connsiteY2" fmla="*/ 7144 h 76200"/>
                <a:gd name="connsiteX3" fmla="*/ 7144 w 76200"/>
                <a:gd name="connsiteY3" fmla="*/ 42005 h 76200"/>
                <a:gd name="connsiteX4" fmla="*/ 7144 w 76200"/>
                <a:gd name="connsiteY4" fmla="*/ 42196 h 76200"/>
                <a:gd name="connsiteX5" fmla="*/ 42005 w 76200"/>
                <a:gd name="connsiteY5" fmla="*/ 7705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0" h="76200">
                  <a:moveTo>
                    <a:pt x="42005" y="77057"/>
                  </a:moveTo>
                  <a:cubicBezTo>
                    <a:pt x="61311" y="77110"/>
                    <a:pt x="77005" y="61502"/>
                    <a:pt x="77057" y="42196"/>
                  </a:cubicBezTo>
                  <a:cubicBezTo>
                    <a:pt x="77110" y="22890"/>
                    <a:pt x="61502" y="7196"/>
                    <a:pt x="42196" y="7144"/>
                  </a:cubicBezTo>
                  <a:cubicBezTo>
                    <a:pt x="22890" y="7091"/>
                    <a:pt x="7196" y="22699"/>
                    <a:pt x="7144" y="42005"/>
                  </a:cubicBezTo>
                  <a:cubicBezTo>
                    <a:pt x="7144" y="42069"/>
                    <a:pt x="7144" y="42132"/>
                    <a:pt x="7144" y="42196"/>
                  </a:cubicBezTo>
                  <a:cubicBezTo>
                    <a:pt x="7144" y="61449"/>
                    <a:pt x="22752" y="77057"/>
                    <a:pt x="42005" y="7705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60" name="Frihåndsform: figur 59">
              <a:extLst>
                <a:ext uri="{FF2B5EF4-FFF2-40B4-BE49-F238E27FC236}">
                  <a16:creationId xmlns:a16="http://schemas.microsoft.com/office/drawing/2014/main" id="{E05791FB-9A64-4E79-B903-B388A3A0D48B}"/>
                </a:ext>
              </a:extLst>
            </p:cNvPr>
            <p:cNvSpPr/>
            <p:nvPr/>
          </p:nvSpPr>
          <p:spPr>
            <a:xfrm>
              <a:off x="9599312" y="2141170"/>
              <a:ext cx="76200" cy="76200"/>
            </a:xfrm>
            <a:custGeom>
              <a:avLst/>
              <a:gdLst>
                <a:gd name="connsiteX0" fmla="*/ 42005 w 76200"/>
                <a:gd name="connsiteY0" fmla="*/ 77057 h 76200"/>
                <a:gd name="connsiteX1" fmla="*/ 77057 w 76200"/>
                <a:gd name="connsiteY1" fmla="*/ 42196 h 76200"/>
                <a:gd name="connsiteX2" fmla="*/ 42196 w 76200"/>
                <a:gd name="connsiteY2" fmla="*/ 7144 h 76200"/>
                <a:gd name="connsiteX3" fmla="*/ 7144 w 76200"/>
                <a:gd name="connsiteY3" fmla="*/ 42005 h 76200"/>
                <a:gd name="connsiteX4" fmla="*/ 7144 w 76200"/>
                <a:gd name="connsiteY4" fmla="*/ 42196 h 76200"/>
                <a:gd name="connsiteX5" fmla="*/ 42005 w 76200"/>
                <a:gd name="connsiteY5" fmla="*/ 77057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00" h="76200">
                  <a:moveTo>
                    <a:pt x="42005" y="77057"/>
                  </a:moveTo>
                  <a:cubicBezTo>
                    <a:pt x="61311" y="77110"/>
                    <a:pt x="77005" y="61502"/>
                    <a:pt x="77057" y="42196"/>
                  </a:cubicBezTo>
                  <a:cubicBezTo>
                    <a:pt x="77110" y="22890"/>
                    <a:pt x="61502" y="7196"/>
                    <a:pt x="42196" y="7144"/>
                  </a:cubicBezTo>
                  <a:cubicBezTo>
                    <a:pt x="22890" y="7091"/>
                    <a:pt x="7196" y="22699"/>
                    <a:pt x="7144" y="42005"/>
                  </a:cubicBezTo>
                  <a:cubicBezTo>
                    <a:pt x="7144" y="42069"/>
                    <a:pt x="7144" y="42132"/>
                    <a:pt x="7144" y="42196"/>
                  </a:cubicBezTo>
                  <a:cubicBezTo>
                    <a:pt x="7144" y="61449"/>
                    <a:pt x="22752" y="77057"/>
                    <a:pt x="42005" y="77057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</p:grpSp>
      <p:pic>
        <p:nvPicPr>
          <p:cNvPr id="61" name="i15" hidden="1">
            <a:extLst>
              <a:ext uri="{FF2B5EF4-FFF2-40B4-BE49-F238E27FC236}">
                <a16:creationId xmlns:a16="http://schemas.microsoft.com/office/drawing/2014/main" id="{29E7DC0C-CAEF-479F-83C6-A9B91D082EF5}"/>
              </a:ext>
            </a:extLst>
          </p:cNvPr>
          <p:cNvPicPr>
            <a:picLocks noChangeAspect="1"/>
          </p:cNvPicPr>
          <p:nvPr userDrawn="1"/>
        </p:nvPicPr>
        <p:blipFill>
          <a:blip r:embed="rId4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449940" y="3896078"/>
            <a:ext cx="1354534" cy="1354667"/>
          </a:xfrm>
          <a:prstGeom prst="rect">
            <a:avLst/>
          </a:prstGeom>
        </p:spPr>
      </p:pic>
      <p:pic>
        <p:nvPicPr>
          <p:cNvPr id="62" name="i16" hidden="1">
            <a:extLst>
              <a:ext uri="{FF2B5EF4-FFF2-40B4-BE49-F238E27FC236}">
                <a16:creationId xmlns:a16="http://schemas.microsoft.com/office/drawing/2014/main" id="{CBE8E7D9-4983-431E-B307-1C0D8FD63E98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7492270" y="3938413"/>
            <a:ext cx="1269876" cy="1270000"/>
          </a:xfrm>
          <a:prstGeom prst="rect">
            <a:avLst/>
          </a:prstGeom>
        </p:spPr>
      </p:pic>
      <p:pic>
        <p:nvPicPr>
          <p:cNvPr id="63" name="i17" hidden="1">
            <a:extLst>
              <a:ext uri="{FF2B5EF4-FFF2-40B4-BE49-F238E27FC236}">
                <a16:creationId xmlns:a16="http://schemas.microsoft.com/office/drawing/2014/main" id="{04EA8C6C-8E52-4492-A1DC-683BAA07D143}"/>
              </a:ext>
            </a:extLst>
          </p:cNvPr>
          <p:cNvPicPr>
            <a:picLocks noChangeAspect="1"/>
          </p:cNvPicPr>
          <p:nvPr userDrawn="1"/>
        </p:nvPicPr>
        <p:blipFill>
          <a:blip r:embed="rId4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7492270" y="3929945"/>
            <a:ext cx="1269876" cy="1286933"/>
          </a:xfrm>
          <a:prstGeom prst="rect">
            <a:avLst/>
          </a:prstGeom>
        </p:spPr>
      </p:pic>
      <p:pic>
        <p:nvPicPr>
          <p:cNvPr id="64" name="i18" hidden="1">
            <a:extLst>
              <a:ext uri="{FF2B5EF4-FFF2-40B4-BE49-F238E27FC236}">
                <a16:creationId xmlns:a16="http://schemas.microsoft.com/office/drawing/2014/main" id="{C1DED7C3-A3EB-4ECE-9F37-9973A5996961}"/>
              </a:ext>
            </a:extLst>
          </p:cNvPr>
          <p:cNvPicPr>
            <a:picLocks noChangeAspect="1"/>
          </p:cNvPicPr>
          <p:nvPr userDrawn="1"/>
        </p:nvPicPr>
        <p:blipFill>
          <a:blip r:embed="rId5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7492270" y="3938413"/>
            <a:ext cx="1269876" cy="1270000"/>
          </a:xfrm>
          <a:prstGeom prst="rect">
            <a:avLst/>
          </a:prstGeom>
        </p:spPr>
      </p:pic>
      <p:pic>
        <p:nvPicPr>
          <p:cNvPr id="65" name="i19" hidden="1">
            <a:extLst>
              <a:ext uri="{FF2B5EF4-FFF2-40B4-BE49-F238E27FC236}">
                <a16:creationId xmlns:a16="http://schemas.microsoft.com/office/drawing/2014/main" id="{AEBE1479-BA19-4642-ABFA-755BC74D90F5}"/>
              </a:ext>
            </a:extLst>
          </p:cNvPr>
          <p:cNvPicPr>
            <a:picLocks noChangeAspect="1"/>
          </p:cNvPicPr>
          <p:nvPr userDrawn="1"/>
        </p:nvPicPr>
        <p:blipFill>
          <a:blip r:embed="rId5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7492270" y="3938413"/>
            <a:ext cx="1269876" cy="1270000"/>
          </a:xfrm>
          <a:prstGeom prst="rect">
            <a:avLst/>
          </a:prstGeom>
        </p:spPr>
      </p:pic>
      <p:pic>
        <p:nvPicPr>
          <p:cNvPr id="66" name="i20" hidden="1">
            <a:extLst>
              <a:ext uri="{FF2B5EF4-FFF2-40B4-BE49-F238E27FC236}">
                <a16:creationId xmlns:a16="http://schemas.microsoft.com/office/drawing/2014/main" id="{15BE9DA9-CFF9-4213-81B5-9763997CCC7B}"/>
              </a:ext>
            </a:extLst>
          </p:cNvPr>
          <p:cNvPicPr>
            <a:picLocks noChangeAspect="1"/>
          </p:cNvPicPr>
          <p:nvPr userDrawn="1"/>
        </p:nvPicPr>
        <p:blipFill>
          <a:blip r:embed="rId5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7492270" y="3938413"/>
            <a:ext cx="1269876" cy="1270000"/>
          </a:xfrm>
          <a:prstGeom prst="rect">
            <a:avLst/>
          </a:prstGeom>
        </p:spPr>
      </p:pic>
      <p:pic>
        <p:nvPicPr>
          <p:cNvPr id="67" name="i21" hidden="1">
            <a:extLst>
              <a:ext uri="{FF2B5EF4-FFF2-40B4-BE49-F238E27FC236}">
                <a16:creationId xmlns:a16="http://schemas.microsoft.com/office/drawing/2014/main" id="{97F77EF6-3721-4B2C-8092-0F7772EAA8AA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492270" y="3938413"/>
            <a:ext cx="1269876" cy="1270000"/>
          </a:xfrm>
          <a:prstGeom prst="rect">
            <a:avLst/>
          </a:prstGeom>
        </p:spPr>
      </p:pic>
      <p:pic>
        <p:nvPicPr>
          <p:cNvPr id="68" name="i22" hidden="1">
            <a:extLst>
              <a:ext uri="{FF2B5EF4-FFF2-40B4-BE49-F238E27FC236}">
                <a16:creationId xmlns:a16="http://schemas.microsoft.com/office/drawing/2014/main" id="{79E9CF74-8FEB-42DF-B910-317DE90D581C}"/>
              </a:ext>
            </a:extLst>
          </p:cNvPr>
          <p:cNvPicPr>
            <a:picLocks noChangeAspect="1"/>
          </p:cNvPicPr>
          <p:nvPr userDrawn="1"/>
        </p:nvPicPr>
        <p:blipFill>
          <a:blip r:embed="rId5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7703915" y="4040013"/>
            <a:ext cx="846584" cy="1066800"/>
          </a:xfrm>
          <a:prstGeom prst="rect">
            <a:avLst/>
          </a:prstGeom>
        </p:spPr>
      </p:pic>
      <p:grpSp>
        <p:nvGrpSpPr>
          <p:cNvPr id="69" name="i23" hidden="1">
            <a:extLst>
              <a:ext uri="{FF2B5EF4-FFF2-40B4-BE49-F238E27FC236}">
                <a16:creationId xmlns:a16="http://schemas.microsoft.com/office/drawing/2014/main" id="{D035E156-ABBD-4A33-A124-E38B541B305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34598" y="3989213"/>
            <a:ext cx="1185218" cy="1168400"/>
            <a:chOff x="8579224" y="2747962"/>
            <a:chExt cx="666750" cy="657225"/>
          </a:xfrm>
        </p:grpSpPr>
        <p:sp>
          <p:nvSpPr>
            <p:cNvPr id="70" name="Frihåndsform: figur 69">
              <a:extLst>
                <a:ext uri="{FF2B5EF4-FFF2-40B4-BE49-F238E27FC236}">
                  <a16:creationId xmlns:a16="http://schemas.microsoft.com/office/drawing/2014/main" id="{10B34B63-344F-4A8E-A9D7-7A61B277AD53}"/>
                </a:ext>
              </a:extLst>
            </p:cNvPr>
            <p:cNvSpPr/>
            <p:nvPr/>
          </p:nvSpPr>
          <p:spPr>
            <a:xfrm>
              <a:off x="9084430" y="2941891"/>
              <a:ext cx="47625" cy="133350"/>
            </a:xfrm>
            <a:custGeom>
              <a:avLst/>
              <a:gdLst>
                <a:gd name="connsiteX0" fmla="*/ 28194 w 47625"/>
                <a:gd name="connsiteY0" fmla="*/ 7144 h 133350"/>
                <a:gd name="connsiteX1" fmla="*/ 24003 w 47625"/>
                <a:gd name="connsiteY1" fmla="*/ 127445 h 133350"/>
                <a:gd name="connsiteX2" fmla="*/ 7144 w 47625"/>
                <a:gd name="connsiteY2" fmla="*/ 107442 h 133350"/>
                <a:gd name="connsiteX3" fmla="*/ 10001 w 47625"/>
                <a:gd name="connsiteY3" fmla="*/ 2590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133350">
                  <a:moveTo>
                    <a:pt x="28194" y="7144"/>
                  </a:moveTo>
                  <a:cubicBezTo>
                    <a:pt x="56984" y="42681"/>
                    <a:pt x="55197" y="93997"/>
                    <a:pt x="24003" y="127445"/>
                  </a:cubicBezTo>
                  <a:lnTo>
                    <a:pt x="7144" y="107442"/>
                  </a:lnTo>
                  <a:cubicBezTo>
                    <a:pt x="28277" y="84772"/>
                    <a:pt x="29496" y="50002"/>
                    <a:pt x="10001" y="25908"/>
                  </a:cubicBezTo>
                  <a:close/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1" name="Frihåndsform: figur 70">
              <a:extLst>
                <a:ext uri="{FF2B5EF4-FFF2-40B4-BE49-F238E27FC236}">
                  <a16:creationId xmlns:a16="http://schemas.microsoft.com/office/drawing/2014/main" id="{D7F4A99A-5D31-48BC-B616-A7B7C2D091F6}"/>
                </a:ext>
              </a:extLst>
            </p:cNvPr>
            <p:cNvSpPr/>
            <p:nvPr/>
          </p:nvSpPr>
          <p:spPr>
            <a:xfrm>
              <a:off x="9123768" y="2898552"/>
              <a:ext cx="66675" cy="219075"/>
            </a:xfrm>
            <a:custGeom>
              <a:avLst/>
              <a:gdLst>
                <a:gd name="connsiteX0" fmla="*/ 31337 w 66675"/>
                <a:gd name="connsiteY0" fmla="*/ 7144 h 219075"/>
                <a:gd name="connsiteX1" fmla="*/ 24003 w 66675"/>
                <a:gd name="connsiteY1" fmla="*/ 216694 h 219075"/>
                <a:gd name="connsiteX2" fmla="*/ 7144 w 66675"/>
                <a:gd name="connsiteY2" fmla="*/ 196691 h 219075"/>
                <a:gd name="connsiteX3" fmla="*/ 13145 w 66675"/>
                <a:gd name="connsiteY3" fmla="*/ 25241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219075">
                  <a:moveTo>
                    <a:pt x="31337" y="7144"/>
                  </a:moveTo>
                  <a:cubicBezTo>
                    <a:pt x="81454" y="69062"/>
                    <a:pt x="78326" y="158431"/>
                    <a:pt x="24003" y="216694"/>
                  </a:cubicBezTo>
                  <a:lnTo>
                    <a:pt x="7144" y="196691"/>
                  </a:lnTo>
                  <a:cubicBezTo>
                    <a:pt x="51790" y="149105"/>
                    <a:pt x="54355" y="75832"/>
                    <a:pt x="13145" y="25241"/>
                  </a:cubicBezTo>
                  <a:close/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2" name="Frihåndsform: figur 71">
              <a:extLst>
                <a:ext uri="{FF2B5EF4-FFF2-40B4-BE49-F238E27FC236}">
                  <a16:creationId xmlns:a16="http://schemas.microsoft.com/office/drawing/2014/main" id="{86D33C4A-8D15-4D2B-B81E-0947C27EF96F}"/>
                </a:ext>
              </a:extLst>
            </p:cNvPr>
            <p:cNvSpPr/>
            <p:nvPr/>
          </p:nvSpPr>
          <p:spPr>
            <a:xfrm>
              <a:off x="9162630" y="2855118"/>
              <a:ext cx="85725" cy="304800"/>
            </a:xfrm>
            <a:custGeom>
              <a:avLst/>
              <a:gdLst>
                <a:gd name="connsiteX0" fmla="*/ 34576 w 85725"/>
                <a:gd name="connsiteY0" fmla="*/ 7144 h 304800"/>
                <a:gd name="connsiteX1" fmla="*/ 24098 w 85725"/>
                <a:gd name="connsiteY1" fmla="*/ 306610 h 304800"/>
                <a:gd name="connsiteX2" fmla="*/ 7144 w 85725"/>
                <a:gd name="connsiteY2" fmla="*/ 286607 h 304800"/>
                <a:gd name="connsiteX3" fmla="*/ 16669 w 85725"/>
                <a:gd name="connsiteY3" fmla="*/ 26194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304800">
                  <a:moveTo>
                    <a:pt x="34576" y="7144"/>
                  </a:moveTo>
                  <a:cubicBezTo>
                    <a:pt x="106115" y="95657"/>
                    <a:pt x="101648" y="223313"/>
                    <a:pt x="24098" y="306610"/>
                  </a:cubicBezTo>
                  <a:lnTo>
                    <a:pt x="7144" y="286607"/>
                  </a:lnTo>
                  <a:cubicBezTo>
                    <a:pt x="74705" y="214278"/>
                    <a:pt x="78766" y="103265"/>
                    <a:pt x="16669" y="26194"/>
                  </a:cubicBezTo>
                  <a:close/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3" name="Frihåndsform: figur 72">
              <a:extLst>
                <a:ext uri="{FF2B5EF4-FFF2-40B4-BE49-F238E27FC236}">
                  <a16:creationId xmlns:a16="http://schemas.microsoft.com/office/drawing/2014/main" id="{34E83DC1-33AD-4B93-9185-0962389AEA83}"/>
                </a:ext>
              </a:extLst>
            </p:cNvPr>
            <p:cNvSpPr/>
            <p:nvPr/>
          </p:nvSpPr>
          <p:spPr>
            <a:xfrm>
              <a:off x="8572080" y="3114293"/>
              <a:ext cx="485775" cy="295275"/>
            </a:xfrm>
            <a:custGeom>
              <a:avLst/>
              <a:gdLst>
                <a:gd name="connsiteX0" fmla="*/ 479679 w 485775"/>
                <a:gd name="connsiteY0" fmla="*/ 257366 h 295275"/>
                <a:gd name="connsiteX1" fmla="*/ 466154 w 485775"/>
                <a:gd name="connsiteY1" fmla="*/ 135255 h 295275"/>
                <a:gd name="connsiteX2" fmla="*/ 367951 w 485775"/>
                <a:gd name="connsiteY2" fmla="*/ 8477 h 295275"/>
                <a:gd name="connsiteX3" fmla="*/ 298799 w 485775"/>
                <a:gd name="connsiteY3" fmla="*/ 37052 h 295275"/>
                <a:gd name="connsiteX4" fmla="*/ 195167 w 485775"/>
                <a:gd name="connsiteY4" fmla="*/ 7144 h 295275"/>
                <a:gd name="connsiteX5" fmla="*/ 14192 w 485775"/>
                <a:gd name="connsiteY5" fmla="*/ 135636 h 295275"/>
                <a:gd name="connsiteX6" fmla="*/ 7144 w 485775"/>
                <a:gd name="connsiteY6" fmla="*/ 257366 h 295275"/>
                <a:gd name="connsiteX7" fmla="*/ 38671 w 485775"/>
                <a:gd name="connsiteY7" fmla="*/ 288894 h 295275"/>
                <a:gd name="connsiteX8" fmla="*/ 38862 w 485775"/>
                <a:gd name="connsiteY8" fmla="*/ 288893 h 295275"/>
                <a:gd name="connsiteX9" fmla="*/ 448437 w 485775"/>
                <a:gd name="connsiteY9" fmla="*/ 288893 h 295275"/>
                <a:gd name="connsiteX10" fmla="*/ 480155 w 485775"/>
                <a:gd name="connsiteY10" fmla="*/ 257557 h 295275"/>
                <a:gd name="connsiteX11" fmla="*/ 480155 w 485775"/>
                <a:gd name="connsiteY11" fmla="*/ 257366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5775" h="295275">
                  <a:moveTo>
                    <a:pt x="479679" y="257366"/>
                  </a:moveTo>
                  <a:lnTo>
                    <a:pt x="466154" y="135255"/>
                  </a:lnTo>
                  <a:cubicBezTo>
                    <a:pt x="466154" y="70580"/>
                    <a:pt x="430054" y="26384"/>
                    <a:pt x="367951" y="8477"/>
                  </a:cubicBezTo>
                  <a:cubicBezTo>
                    <a:pt x="347776" y="23850"/>
                    <a:pt x="323942" y="33699"/>
                    <a:pt x="298799" y="37052"/>
                  </a:cubicBezTo>
                  <a:cubicBezTo>
                    <a:pt x="261703" y="40684"/>
                    <a:pt x="224624" y="29983"/>
                    <a:pt x="195167" y="7144"/>
                  </a:cubicBezTo>
                  <a:cubicBezTo>
                    <a:pt x="80105" y="12192"/>
                    <a:pt x="14192" y="71152"/>
                    <a:pt x="14192" y="135636"/>
                  </a:cubicBezTo>
                  <a:lnTo>
                    <a:pt x="7144" y="257366"/>
                  </a:lnTo>
                  <a:cubicBezTo>
                    <a:pt x="7143" y="274778"/>
                    <a:pt x="21259" y="288894"/>
                    <a:pt x="38671" y="288894"/>
                  </a:cubicBezTo>
                  <a:cubicBezTo>
                    <a:pt x="38735" y="288894"/>
                    <a:pt x="38798" y="288894"/>
                    <a:pt x="38862" y="288893"/>
                  </a:cubicBezTo>
                  <a:lnTo>
                    <a:pt x="448437" y="288893"/>
                  </a:lnTo>
                  <a:cubicBezTo>
                    <a:pt x="465849" y="288999"/>
                    <a:pt x="480049" y="274969"/>
                    <a:pt x="480155" y="257557"/>
                  </a:cubicBezTo>
                  <a:cubicBezTo>
                    <a:pt x="480155" y="257493"/>
                    <a:pt x="480155" y="257429"/>
                    <a:pt x="480155" y="25736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4" name="Frihåndsform: figur 73">
              <a:extLst>
                <a:ext uri="{FF2B5EF4-FFF2-40B4-BE49-F238E27FC236}">
                  <a16:creationId xmlns:a16="http://schemas.microsoft.com/office/drawing/2014/main" id="{A8396776-A508-4987-A7C3-1546F9E3B3C8}"/>
                </a:ext>
              </a:extLst>
            </p:cNvPr>
            <p:cNvSpPr/>
            <p:nvPr/>
          </p:nvSpPr>
          <p:spPr>
            <a:xfrm>
              <a:off x="8982322" y="2916650"/>
              <a:ext cx="38100" cy="66675"/>
            </a:xfrm>
            <a:custGeom>
              <a:avLst/>
              <a:gdLst>
                <a:gd name="connsiteX0" fmla="*/ 10573 w 38100"/>
                <a:gd name="connsiteY0" fmla="*/ 7144 h 66675"/>
                <a:gd name="connsiteX1" fmla="*/ 7144 w 38100"/>
                <a:gd name="connsiteY1" fmla="*/ 5972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66675">
                  <a:moveTo>
                    <a:pt x="10573" y="7144"/>
                  </a:moveTo>
                  <a:cubicBezTo>
                    <a:pt x="10573" y="7144"/>
                    <a:pt x="61531" y="38386"/>
                    <a:pt x="7144" y="59722"/>
                  </a:cubicBezTo>
                  <a:close/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5" name="Frihåndsform: figur 74">
              <a:extLst>
                <a:ext uri="{FF2B5EF4-FFF2-40B4-BE49-F238E27FC236}">
                  <a16:creationId xmlns:a16="http://schemas.microsoft.com/office/drawing/2014/main" id="{BE5323FC-A327-4B78-B1BF-E39B9DE4AB96}"/>
                </a:ext>
              </a:extLst>
            </p:cNvPr>
            <p:cNvSpPr/>
            <p:nvPr/>
          </p:nvSpPr>
          <p:spPr>
            <a:xfrm>
              <a:off x="8673363" y="2740768"/>
              <a:ext cx="323850" cy="361950"/>
            </a:xfrm>
            <a:custGeom>
              <a:avLst/>
              <a:gdLst>
                <a:gd name="connsiteX0" fmla="*/ 190754 w 323850"/>
                <a:gd name="connsiteY0" fmla="*/ 343522 h 361950"/>
                <a:gd name="connsiteX1" fmla="*/ 21971 w 323850"/>
                <a:gd name="connsiteY1" fmla="*/ 189979 h 361950"/>
                <a:gd name="connsiteX2" fmla="*/ 145796 w 323850"/>
                <a:gd name="connsiteY2" fmla="*/ 22625 h 361950"/>
                <a:gd name="connsiteX3" fmla="*/ 305911 w 323850"/>
                <a:gd name="connsiteY3" fmla="*/ 163690 h 361950"/>
                <a:gd name="connsiteX4" fmla="*/ 190754 w 323850"/>
                <a:gd name="connsiteY4" fmla="*/ 343522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361950">
                  <a:moveTo>
                    <a:pt x="190754" y="343522"/>
                  </a:moveTo>
                  <a:cubicBezTo>
                    <a:pt x="82073" y="350951"/>
                    <a:pt x="28067" y="273894"/>
                    <a:pt x="21971" y="189979"/>
                  </a:cubicBezTo>
                  <a:cubicBezTo>
                    <a:pt x="15398" y="100825"/>
                    <a:pt x="69596" y="33388"/>
                    <a:pt x="145796" y="22625"/>
                  </a:cubicBezTo>
                  <a:cubicBezTo>
                    <a:pt x="221996" y="11861"/>
                    <a:pt x="293433" y="75107"/>
                    <a:pt x="305911" y="163690"/>
                  </a:cubicBezTo>
                  <a:cubicBezTo>
                    <a:pt x="318389" y="252272"/>
                    <a:pt x="267811" y="338283"/>
                    <a:pt x="190754" y="343522"/>
                  </a:cubicBezTo>
                  <a:close/>
                </a:path>
              </a:pathLst>
            </a:custGeom>
            <a:noFill/>
            <a:ln w="28575" cap="flat">
              <a:solidFill>
                <a:srgbClr val="F5A800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6" name="Frihåndsform: figur 75">
              <a:extLst>
                <a:ext uri="{FF2B5EF4-FFF2-40B4-BE49-F238E27FC236}">
                  <a16:creationId xmlns:a16="http://schemas.microsoft.com/office/drawing/2014/main" id="{E7B5C682-133B-40E4-943C-A079A057F418}"/>
                </a:ext>
              </a:extLst>
            </p:cNvPr>
            <p:cNvSpPr/>
            <p:nvPr/>
          </p:nvSpPr>
          <p:spPr>
            <a:xfrm>
              <a:off x="8680652" y="2748984"/>
              <a:ext cx="285750" cy="333375"/>
            </a:xfrm>
            <a:custGeom>
              <a:avLst/>
              <a:gdLst>
                <a:gd name="connsiteX0" fmla="*/ 13349 w 285750"/>
                <a:gd name="connsiteY0" fmla="*/ 125851 h 333375"/>
                <a:gd name="connsiteX1" fmla="*/ 70022 w 285750"/>
                <a:gd name="connsiteY1" fmla="*/ 42126 h 333375"/>
                <a:gd name="connsiteX2" fmla="*/ 279572 w 285750"/>
                <a:gd name="connsiteY2" fmla="*/ 76321 h 333375"/>
                <a:gd name="connsiteX3" fmla="*/ 133840 w 285750"/>
                <a:gd name="connsiteY3" fmla="*/ 152997 h 333375"/>
                <a:gd name="connsiteX4" fmla="*/ 105265 w 285750"/>
                <a:gd name="connsiteY4" fmla="*/ 143472 h 333375"/>
                <a:gd name="connsiteX5" fmla="*/ 75547 w 285750"/>
                <a:gd name="connsiteY5" fmla="*/ 186240 h 333375"/>
                <a:gd name="connsiteX6" fmla="*/ 114504 w 285750"/>
                <a:gd name="connsiteY6" fmla="*/ 219196 h 333375"/>
                <a:gd name="connsiteX7" fmla="*/ 79738 w 285750"/>
                <a:gd name="connsiteY7" fmla="*/ 326448 h 333375"/>
                <a:gd name="connsiteX8" fmla="*/ 13063 w 285750"/>
                <a:gd name="connsiteY8" fmla="*/ 125661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0" h="333375">
                  <a:moveTo>
                    <a:pt x="13349" y="125851"/>
                  </a:moveTo>
                  <a:cubicBezTo>
                    <a:pt x="28303" y="49651"/>
                    <a:pt x="43067" y="63177"/>
                    <a:pt x="70022" y="42126"/>
                  </a:cubicBezTo>
                  <a:cubicBezTo>
                    <a:pt x="177369" y="-53124"/>
                    <a:pt x="279572" y="76321"/>
                    <a:pt x="279572" y="76321"/>
                  </a:cubicBezTo>
                  <a:cubicBezTo>
                    <a:pt x="279572" y="76321"/>
                    <a:pt x="174797" y="131185"/>
                    <a:pt x="133840" y="152997"/>
                  </a:cubicBezTo>
                  <a:cubicBezTo>
                    <a:pt x="126317" y="145547"/>
                    <a:pt x="115753" y="142026"/>
                    <a:pt x="105265" y="143472"/>
                  </a:cubicBezTo>
                  <a:cubicBezTo>
                    <a:pt x="85291" y="147142"/>
                    <a:pt x="72020" y="166240"/>
                    <a:pt x="75547" y="186240"/>
                  </a:cubicBezTo>
                  <a:cubicBezTo>
                    <a:pt x="77648" y="205866"/>
                    <a:pt x="94801" y="220377"/>
                    <a:pt x="114504" y="219196"/>
                  </a:cubicBezTo>
                  <a:cubicBezTo>
                    <a:pt x="109265" y="237579"/>
                    <a:pt x="101360" y="259773"/>
                    <a:pt x="79738" y="326448"/>
                  </a:cubicBezTo>
                  <a:cubicBezTo>
                    <a:pt x="79738" y="326448"/>
                    <a:pt x="-17417" y="280728"/>
                    <a:pt x="13063" y="125661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7" name="Frihåndsform: figur 76">
              <a:extLst>
                <a:ext uri="{FF2B5EF4-FFF2-40B4-BE49-F238E27FC236}">
                  <a16:creationId xmlns:a16="http://schemas.microsoft.com/office/drawing/2014/main" id="{8890BAE1-9599-403F-8A8D-D4D819A8F9DA}"/>
                </a:ext>
              </a:extLst>
            </p:cNvPr>
            <p:cNvSpPr/>
            <p:nvPr/>
          </p:nvSpPr>
          <p:spPr>
            <a:xfrm>
              <a:off x="8893113" y="2889327"/>
              <a:ext cx="38100" cy="47625"/>
            </a:xfrm>
            <a:custGeom>
              <a:avLst/>
              <a:gdLst>
                <a:gd name="connsiteX0" fmla="*/ 23677 w 38100"/>
                <a:gd name="connsiteY0" fmla="*/ 40657 h 47625"/>
                <a:gd name="connsiteX1" fmla="*/ 7676 w 38100"/>
                <a:gd name="connsiteY1" fmla="*/ 25623 h 47625"/>
                <a:gd name="connsiteX2" fmla="*/ 7675 w 38100"/>
                <a:gd name="connsiteY2" fmla="*/ 25608 h 47625"/>
                <a:gd name="connsiteX3" fmla="*/ 17833 w 38100"/>
                <a:gd name="connsiteY3" fmla="*/ 7675 h 47625"/>
                <a:gd name="connsiteX4" fmla="*/ 35766 w 38100"/>
                <a:gd name="connsiteY4" fmla="*/ 17833 h 47625"/>
                <a:gd name="connsiteX5" fmla="*/ 36250 w 38100"/>
                <a:gd name="connsiteY5" fmla="*/ 22846 h 47625"/>
                <a:gd name="connsiteX6" fmla="*/ 23392 w 38100"/>
                <a:gd name="connsiteY6" fmla="*/ 4065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47625">
                  <a:moveTo>
                    <a:pt x="23677" y="40657"/>
                  </a:moveTo>
                  <a:cubicBezTo>
                    <a:pt x="15107" y="40924"/>
                    <a:pt x="7943" y="34193"/>
                    <a:pt x="7676" y="25623"/>
                  </a:cubicBezTo>
                  <a:cubicBezTo>
                    <a:pt x="7676" y="25618"/>
                    <a:pt x="7676" y="25613"/>
                    <a:pt x="7675" y="25608"/>
                  </a:cubicBezTo>
                  <a:cubicBezTo>
                    <a:pt x="5529" y="17851"/>
                    <a:pt x="10076" y="9822"/>
                    <a:pt x="17833" y="7675"/>
                  </a:cubicBezTo>
                  <a:cubicBezTo>
                    <a:pt x="25590" y="5529"/>
                    <a:pt x="33619" y="10076"/>
                    <a:pt x="35766" y="17833"/>
                  </a:cubicBezTo>
                  <a:cubicBezTo>
                    <a:pt x="36217" y="19463"/>
                    <a:pt x="36381" y="21159"/>
                    <a:pt x="36250" y="22846"/>
                  </a:cubicBezTo>
                  <a:cubicBezTo>
                    <a:pt x="37568" y="31303"/>
                    <a:pt x="31834" y="39246"/>
                    <a:pt x="23392" y="4065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  <p:sp>
          <p:nvSpPr>
            <p:cNvPr id="78" name="Frihåndsform: figur 77">
              <a:extLst>
                <a:ext uri="{FF2B5EF4-FFF2-40B4-BE49-F238E27FC236}">
                  <a16:creationId xmlns:a16="http://schemas.microsoft.com/office/drawing/2014/main" id="{2EEC534D-B35D-485F-8238-F5D50F9CA705}"/>
                </a:ext>
              </a:extLst>
            </p:cNvPr>
            <p:cNvSpPr/>
            <p:nvPr/>
          </p:nvSpPr>
          <p:spPr>
            <a:xfrm>
              <a:off x="8880500" y="2966275"/>
              <a:ext cx="85725" cy="85725"/>
            </a:xfrm>
            <a:custGeom>
              <a:avLst/>
              <a:gdLst>
                <a:gd name="connsiteX0" fmla="*/ 7144 w 85725"/>
                <a:gd name="connsiteY0" fmla="*/ 24193 h 85725"/>
                <a:gd name="connsiteX1" fmla="*/ 83344 w 85725"/>
                <a:gd name="connsiteY1" fmla="*/ 7144 h 85725"/>
                <a:gd name="connsiteX2" fmla="*/ 45244 w 85725"/>
                <a:gd name="connsiteY2" fmla="*/ 78677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725" h="85725">
                  <a:moveTo>
                    <a:pt x="7144" y="24193"/>
                  </a:moveTo>
                  <a:lnTo>
                    <a:pt x="83344" y="7144"/>
                  </a:lnTo>
                  <a:cubicBezTo>
                    <a:pt x="87154" y="28956"/>
                    <a:pt x="92869" y="69342"/>
                    <a:pt x="45244" y="78677"/>
                  </a:cubicBezTo>
                  <a:close/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nb-NO" sz="4024"/>
            </a:p>
          </p:txBody>
        </p:sp>
      </p:grpSp>
      <p:pic>
        <p:nvPicPr>
          <p:cNvPr id="79" name="i24" hidden="1">
            <a:extLst>
              <a:ext uri="{FF2B5EF4-FFF2-40B4-BE49-F238E27FC236}">
                <a16:creationId xmlns:a16="http://schemas.microsoft.com/office/drawing/2014/main" id="{FD1163E8-9617-44C6-B011-FFD0275EEFC1}"/>
              </a:ext>
            </a:extLst>
          </p:cNvPr>
          <p:cNvPicPr>
            <a:picLocks noChangeAspect="1"/>
          </p:cNvPicPr>
          <p:nvPr userDrawn="1"/>
        </p:nvPicPr>
        <p:blipFill>
          <a:blip r:embed="rId6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7094374" y="3743678"/>
            <a:ext cx="2065665" cy="1659467"/>
          </a:xfrm>
          <a:prstGeom prst="rect">
            <a:avLst/>
          </a:prstGeom>
        </p:spPr>
      </p:pic>
      <p:pic>
        <p:nvPicPr>
          <p:cNvPr id="80" name="i25" hidden="1">
            <a:extLst>
              <a:ext uri="{FF2B5EF4-FFF2-40B4-BE49-F238E27FC236}">
                <a16:creationId xmlns:a16="http://schemas.microsoft.com/office/drawing/2014/main" id="{ED9DBCAA-8B63-4057-BB77-D747AE606CD6}"/>
              </a:ext>
            </a:extLst>
          </p:cNvPr>
          <p:cNvPicPr>
            <a:picLocks noChangeAspect="1"/>
          </p:cNvPicPr>
          <p:nvPr userDrawn="1"/>
        </p:nvPicPr>
        <p:blipFill>
          <a:blip r:embed="rId6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7382213" y="3938413"/>
            <a:ext cx="1489988" cy="1270000"/>
          </a:xfrm>
          <a:prstGeom prst="rect">
            <a:avLst/>
          </a:prstGeom>
        </p:spPr>
      </p:pic>
      <p:pic>
        <p:nvPicPr>
          <p:cNvPr id="81" name="i26" hidden="1">
            <a:extLst>
              <a:ext uri="{FF2B5EF4-FFF2-40B4-BE49-F238E27FC236}">
                <a16:creationId xmlns:a16="http://schemas.microsoft.com/office/drawing/2014/main" id="{8174FCAC-FBCF-4B03-843D-FBE6338F84DC}"/>
              </a:ext>
            </a:extLst>
          </p:cNvPr>
          <p:cNvPicPr>
            <a:picLocks noChangeAspect="1"/>
          </p:cNvPicPr>
          <p:nvPr userDrawn="1"/>
        </p:nvPicPr>
        <p:blipFill>
          <a:blip r:embed="rId6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7559997" y="4065412"/>
            <a:ext cx="1134423" cy="1016000"/>
          </a:xfrm>
          <a:prstGeom prst="rect">
            <a:avLst/>
          </a:prstGeom>
        </p:spPr>
      </p:pic>
      <p:pic>
        <p:nvPicPr>
          <p:cNvPr id="82" name="i27" hidden="1">
            <a:extLst>
              <a:ext uri="{FF2B5EF4-FFF2-40B4-BE49-F238E27FC236}">
                <a16:creationId xmlns:a16="http://schemas.microsoft.com/office/drawing/2014/main" id="{1C4EE222-41BD-4799-B979-9BA4A6619673}"/>
              </a:ext>
            </a:extLst>
          </p:cNvPr>
          <p:cNvPicPr>
            <a:picLocks noChangeAspect="1"/>
          </p:cNvPicPr>
          <p:nvPr userDrawn="1"/>
        </p:nvPicPr>
        <p:blipFill>
          <a:blip r:embed="rId6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7170568" y="3735213"/>
            <a:ext cx="1913280" cy="1676400"/>
          </a:xfrm>
          <a:prstGeom prst="rect">
            <a:avLst/>
          </a:prstGeom>
        </p:spPr>
      </p:pic>
      <p:pic>
        <p:nvPicPr>
          <p:cNvPr id="83" name="i28" hidden="1">
            <a:extLst>
              <a:ext uri="{FF2B5EF4-FFF2-40B4-BE49-F238E27FC236}">
                <a16:creationId xmlns:a16="http://schemas.microsoft.com/office/drawing/2014/main" id="{85C227CD-2084-439A-95B8-5443179A7071}"/>
              </a:ext>
            </a:extLst>
          </p:cNvPr>
          <p:cNvPicPr>
            <a:picLocks noChangeAspect="1"/>
          </p:cNvPicPr>
          <p:nvPr userDrawn="1"/>
        </p:nvPicPr>
        <p:blipFill>
          <a:blip r:embed="rId6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7162101" y="3752147"/>
            <a:ext cx="1930212" cy="1642533"/>
          </a:xfrm>
          <a:prstGeom prst="rect">
            <a:avLst/>
          </a:prstGeom>
        </p:spPr>
      </p:pic>
      <p:pic>
        <p:nvPicPr>
          <p:cNvPr id="84" name="i29" hidden="1">
            <a:extLst>
              <a:ext uri="{FF2B5EF4-FFF2-40B4-BE49-F238E27FC236}">
                <a16:creationId xmlns:a16="http://schemas.microsoft.com/office/drawing/2014/main" id="{055035E4-AB4E-4044-A670-2C6D6E86A97F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7466871" y="3946878"/>
            <a:ext cx="1320671" cy="1253067"/>
          </a:xfrm>
          <a:prstGeom prst="rect">
            <a:avLst/>
          </a:prstGeom>
        </p:spPr>
      </p:pic>
      <p:pic>
        <p:nvPicPr>
          <p:cNvPr id="85" name="i30" hidden="1">
            <a:extLst>
              <a:ext uri="{FF2B5EF4-FFF2-40B4-BE49-F238E27FC236}">
                <a16:creationId xmlns:a16="http://schemas.microsoft.com/office/drawing/2014/main" id="{D025BC44-FAC9-4320-A54C-4A7A2F245318}"/>
              </a:ext>
            </a:extLst>
          </p:cNvPr>
          <p:cNvPicPr>
            <a:picLocks noChangeAspect="1"/>
          </p:cNvPicPr>
          <p:nvPr userDrawn="1"/>
        </p:nvPicPr>
        <p:blipFill>
          <a:blip r:embed="rId7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7289090" y="3938413"/>
            <a:ext cx="1676236" cy="1270000"/>
          </a:xfrm>
          <a:prstGeom prst="rect">
            <a:avLst/>
          </a:prstGeom>
        </p:spPr>
      </p:pic>
      <p:pic>
        <p:nvPicPr>
          <p:cNvPr id="86" name="i31" hidden="1">
            <a:extLst>
              <a:ext uri="{FF2B5EF4-FFF2-40B4-BE49-F238E27FC236}">
                <a16:creationId xmlns:a16="http://schemas.microsoft.com/office/drawing/2014/main" id="{23C82F0D-D72C-4838-B214-50844D334E9E}"/>
              </a:ext>
            </a:extLst>
          </p:cNvPr>
          <p:cNvPicPr>
            <a:picLocks noChangeAspect="1"/>
          </p:cNvPicPr>
          <p:nvPr userDrawn="1"/>
        </p:nvPicPr>
        <p:blipFill>
          <a:blip r:embed="rId7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7297554" y="3743678"/>
            <a:ext cx="1659305" cy="1659467"/>
          </a:xfrm>
          <a:prstGeom prst="rect">
            <a:avLst/>
          </a:prstGeom>
        </p:spPr>
      </p:pic>
      <p:pic>
        <p:nvPicPr>
          <p:cNvPr id="87" name="i32" hidden="1">
            <a:extLst>
              <a:ext uri="{FF2B5EF4-FFF2-40B4-BE49-F238E27FC236}">
                <a16:creationId xmlns:a16="http://schemas.microsoft.com/office/drawing/2014/main" id="{5B597594-AD5E-4826-8645-B54373B3F2B5}"/>
              </a:ext>
            </a:extLst>
          </p:cNvPr>
          <p:cNvPicPr>
            <a:picLocks noChangeAspect="1"/>
          </p:cNvPicPr>
          <p:nvPr userDrawn="1"/>
        </p:nvPicPr>
        <p:blipFill>
          <a:blip r:embed="rId7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7399145" y="3870680"/>
            <a:ext cx="1456124" cy="1405467"/>
          </a:xfrm>
          <a:prstGeom prst="rect">
            <a:avLst/>
          </a:prstGeom>
        </p:spPr>
      </p:pic>
      <p:grpSp>
        <p:nvGrpSpPr>
          <p:cNvPr id="88" name="i33" hidden="1">
            <a:extLst>
              <a:ext uri="{FF2B5EF4-FFF2-40B4-BE49-F238E27FC236}">
                <a16:creationId xmlns:a16="http://schemas.microsoft.com/office/drawing/2014/main" id="{32819D6E-CA53-4B35-8E2A-AC10BAF3064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19564" y="2120539"/>
            <a:ext cx="13815289" cy="4905746"/>
            <a:chOff x="680305" y="1048792"/>
            <a:chExt cx="7771859" cy="2759482"/>
          </a:xfrm>
        </p:grpSpPr>
        <p:sp>
          <p:nvSpPr>
            <p:cNvPr id="89" name="Frihåndsform: figur 88">
              <a:extLst>
                <a:ext uri="{FF2B5EF4-FFF2-40B4-BE49-F238E27FC236}">
                  <a16:creationId xmlns:a16="http://schemas.microsoft.com/office/drawing/2014/main" id="{EA339550-33DB-4CAC-9ACA-B5A294B39E9A}"/>
                </a:ext>
              </a:extLst>
            </p:cNvPr>
            <p:cNvSpPr/>
            <p:nvPr/>
          </p:nvSpPr>
          <p:spPr>
            <a:xfrm>
              <a:off x="680324" y="2315740"/>
              <a:ext cx="7770697" cy="38092"/>
            </a:xfrm>
            <a:custGeom>
              <a:avLst/>
              <a:gdLst>
                <a:gd name="connsiteX0" fmla="*/ 25374 w 7770697"/>
                <a:gd name="connsiteY0" fmla="*/ 25374 h 38091"/>
                <a:gd name="connsiteX1" fmla="*/ 7747441 w 7770697"/>
                <a:gd name="connsiteY1" fmla="*/ 25374 h 3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70697" h="38091">
                  <a:moveTo>
                    <a:pt x="25374" y="25374"/>
                  </a:moveTo>
                  <a:lnTo>
                    <a:pt x="7747441" y="25374"/>
                  </a:lnTo>
                </a:path>
              </a:pathLst>
            </a:custGeom>
            <a:ln w="25379" cap="flat">
              <a:solidFill>
                <a:srgbClr val="F4A51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0" name="Frihåndsform: figur 89">
              <a:extLst>
                <a:ext uri="{FF2B5EF4-FFF2-40B4-BE49-F238E27FC236}">
                  <a16:creationId xmlns:a16="http://schemas.microsoft.com/office/drawing/2014/main" id="{A0C548D7-4AD2-460E-A420-7964E12D4ABE}"/>
                </a:ext>
              </a:extLst>
            </p:cNvPr>
            <p:cNvSpPr/>
            <p:nvPr/>
          </p:nvSpPr>
          <p:spPr>
            <a:xfrm>
              <a:off x="680324" y="2258602"/>
              <a:ext cx="38092" cy="152367"/>
            </a:xfrm>
            <a:custGeom>
              <a:avLst/>
              <a:gdLst>
                <a:gd name="connsiteX0" fmla="*/ 25374 w 38091"/>
                <a:gd name="connsiteY0" fmla="*/ 25374 h 152366"/>
                <a:gd name="connsiteX1" fmla="*/ 25374 w 38091"/>
                <a:gd name="connsiteY1" fmla="*/ 139649 h 152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091" h="152366">
                  <a:moveTo>
                    <a:pt x="25374" y="25374"/>
                  </a:moveTo>
                  <a:lnTo>
                    <a:pt x="25374" y="139649"/>
                  </a:lnTo>
                </a:path>
              </a:pathLst>
            </a:custGeom>
            <a:ln w="25379" cap="flat">
              <a:solidFill>
                <a:srgbClr val="F4A51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1" name="Frihåndsform: figur 90">
              <a:extLst>
                <a:ext uri="{FF2B5EF4-FFF2-40B4-BE49-F238E27FC236}">
                  <a16:creationId xmlns:a16="http://schemas.microsoft.com/office/drawing/2014/main" id="{5EB35FC3-2CE5-498C-B133-AB92F194ACA6}"/>
                </a:ext>
              </a:extLst>
            </p:cNvPr>
            <p:cNvSpPr/>
            <p:nvPr/>
          </p:nvSpPr>
          <p:spPr>
            <a:xfrm>
              <a:off x="8337889" y="2255809"/>
              <a:ext cx="114275" cy="165064"/>
            </a:xfrm>
            <a:custGeom>
              <a:avLst/>
              <a:gdLst>
                <a:gd name="connsiteX0" fmla="*/ 25374 w 114274"/>
                <a:gd name="connsiteY0" fmla="*/ 25374 h 165063"/>
                <a:gd name="connsiteX1" fmla="*/ 89875 w 114274"/>
                <a:gd name="connsiteY1" fmla="*/ 85305 h 165063"/>
                <a:gd name="connsiteX2" fmla="*/ 25374 w 114274"/>
                <a:gd name="connsiteY2" fmla="*/ 145362 h 16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274" h="165063">
                  <a:moveTo>
                    <a:pt x="25374" y="25374"/>
                  </a:moveTo>
                  <a:lnTo>
                    <a:pt x="89875" y="85305"/>
                  </a:lnTo>
                  <a:lnTo>
                    <a:pt x="25374" y="145362"/>
                  </a:lnTo>
                </a:path>
              </a:pathLst>
            </a:custGeom>
            <a:noFill/>
            <a:ln w="25379" cap="flat">
              <a:solidFill>
                <a:srgbClr val="F4A51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2" name="Frihåndsform: figur 91">
              <a:extLst>
                <a:ext uri="{FF2B5EF4-FFF2-40B4-BE49-F238E27FC236}">
                  <a16:creationId xmlns:a16="http://schemas.microsoft.com/office/drawing/2014/main" id="{80E0C9B0-6624-472E-A77D-385984E2DDA8}"/>
                </a:ext>
              </a:extLst>
            </p:cNvPr>
            <p:cNvSpPr/>
            <p:nvPr/>
          </p:nvSpPr>
          <p:spPr>
            <a:xfrm>
              <a:off x="1131318" y="2238150"/>
              <a:ext cx="203155" cy="203155"/>
            </a:xfrm>
            <a:custGeom>
              <a:avLst/>
              <a:gdLst>
                <a:gd name="connsiteX0" fmla="*/ 102964 w 203155"/>
                <a:gd name="connsiteY0" fmla="*/ 193241 h 203155"/>
                <a:gd name="connsiteX1" fmla="*/ 193241 w 203155"/>
                <a:gd name="connsiteY1" fmla="*/ 102964 h 203155"/>
                <a:gd name="connsiteX2" fmla="*/ 102964 w 203155"/>
                <a:gd name="connsiteY2" fmla="*/ 12687 h 203155"/>
                <a:gd name="connsiteX3" fmla="*/ 12687 w 203155"/>
                <a:gd name="connsiteY3" fmla="*/ 102964 h 203155"/>
                <a:gd name="connsiteX4" fmla="*/ 102964 w 203155"/>
                <a:gd name="connsiteY4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155" h="203155">
                  <a:moveTo>
                    <a:pt x="102964" y="193241"/>
                  </a:moveTo>
                  <a:cubicBezTo>
                    <a:pt x="152822" y="193241"/>
                    <a:pt x="193241" y="152826"/>
                    <a:pt x="193241" y="102964"/>
                  </a:cubicBezTo>
                  <a:cubicBezTo>
                    <a:pt x="193241" y="53106"/>
                    <a:pt x="152822" y="12687"/>
                    <a:pt x="102964" y="12687"/>
                  </a:cubicBezTo>
                  <a:cubicBezTo>
                    <a:pt x="53106" y="12687"/>
                    <a:pt x="12687" y="53106"/>
                    <a:pt x="12687" y="102964"/>
                  </a:cubicBezTo>
                  <a:cubicBezTo>
                    <a:pt x="12687" y="152826"/>
                    <a:pt x="53106" y="193241"/>
                    <a:pt x="102964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3" name="Frihåndsform: figur 92">
              <a:extLst>
                <a:ext uri="{FF2B5EF4-FFF2-40B4-BE49-F238E27FC236}">
                  <a16:creationId xmlns:a16="http://schemas.microsoft.com/office/drawing/2014/main" id="{F69BC95D-568A-429E-8BEA-5154DCBB4E34}"/>
                </a:ext>
              </a:extLst>
            </p:cNvPr>
            <p:cNvSpPr/>
            <p:nvPr/>
          </p:nvSpPr>
          <p:spPr>
            <a:xfrm>
              <a:off x="2337935" y="2238150"/>
              <a:ext cx="203155" cy="203155"/>
            </a:xfrm>
            <a:custGeom>
              <a:avLst/>
              <a:gdLst>
                <a:gd name="connsiteX0" fmla="*/ 102964 w 203155"/>
                <a:gd name="connsiteY0" fmla="*/ 193241 h 203155"/>
                <a:gd name="connsiteX1" fmla="*/ 193241 w 203155"/>
                <a:gd name="connsiteY1" fmla="*/ 102964 h 203155"/>
                <a:gd name="connsiteX2" fmla="*/ 102964 w 203155"/>
                <a:gd name="connsiteY2" fmla="*/ 12687 h 203155"/>
                <a:gd name="connsiteX3" fmla="*/ 12687 w 203155"/>
                <a:gd name="connsiteY3" fmla="*/ 102964 h 203155"/>
                <a:gd name="connsiteX4" fmla="*/ 102964 w 203155"/>
                <a:gd name="connsiteY4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155" h="203155">
                  <a:moveTo>
                    <a:pt x="102964" y="193241"/>
                  </a:moveTo>
                  <a:cubicBezTo>
                    <a:pt x="152826" y="193241"/>
                    <a:pt x="193241" y="152826"/>
                    <a:pt x="193241" y="102964"/>
                  </a:cubicBezTo>
                  <a:cubicBezTo>
                    <a:pt x="193241" y="53106"/>
                    <a:pt x="152826" y="12687"/>
                    <a:pt x="102964" y="12687"/>
                  </a:cubicBezTo>
                  <a:cubicBezTo>
                    <a:pt x="53102" y="12687"/>
                    <a:pt x="12687" y="53106"/>
                    <a:pt x="12687" y="102964"/>
                  </a:cubicBezTo>
                  <a:cubicBezTo>
                    <a:pt x="12687" y="152826"/>
                    <a:pt x="53102" y="193241"/>
                    <a:pt x="102964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4" name="Frihåndsform: figur 93">
              <a:extLst>
                <a:ext uri="{FF2B5EF4-FFF2-40B4-BE49-F238E27FC236}">
                  <a16:creationId xmlns:a16="http://schemas.microsoft.com/office/drawing/2014/main" id="{2EE917B7-8777-44E8-AA87-2D1A7601F1B1}"/>
                </a:ext>
              </a:extLst>
            </p:cNvPr>
            <p:cNvSpPr/>
            <p:nvPr/>
          </p:nvSpPr>
          <p:spPr>
            <a:xfrm>
              <a:off x="3510396" y="2238150"/>
              <a:ext cx="203155" cy="203155"/>
            </a:xfrm>
            <a:custGeom>
              <a:avLst/>
              <a:gdLst>
                <a:gd name="connsiteX0" fmla="*/ 102964 w 203155"/>
                <a:gd name="connsiteY0" fmla="*/ 193241 h 203155"/>
                <a:gd name="connsiteX1" fmla="*/ 193241 w 203155"/>
                <a:gd name="connsiteY1" fmla="*/ 102964 h 203155"/>
                <a:gd name="connsiteX2" fmla="*/ 102964 w 203155"/>
                <a:gd name="connsiteY2" fmla="*/ 12687 h 203155"/>
                <a:gd name="connsiteX3" fmla="*/ 12687 w 203155"/>
                <a:gd name="connsiteY3" fmla="*/ 102964 h 203155"/>
                <a:gd name="connsiteX4" fmla="*/ 102964 w 203155"/>
                <a:gd name="connsiteY4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155" h="203155">
                  <a:moveTo>
                    <a:pt x="102964" y="193241"/>
                  </a:moveTo>
                  <a:cubicBezTo>
                    <a:pt x="152826" y="193241"/>
                    <a:pt x="193241" y="152826"/>
                    <a:pt x="193241" y="102964"/>
                  </a:cubicBezTo>
                  <a:cubicBezTo>
                    <a:pt x="193241" y="53106"/>
                    <a:pt x="152826" y="12687"/>
                    <a:pt x="102964" y="12687"/>
                  </a:cubicBezTo>
                  <a:cubicBezTo>
                    <a:pt x="53102" y="12687"/>
                    <a:pt x="12687" y="53106"/>
                    <a:pt x="12687" y="102964"/>
                  </a:cubicBezTo>
                  <a:cubicBezTo>
                    <a:pt x="12687" y="152826"/>
                    <a:pt x="53102" y="193241"/>
                    <a:pt x="102964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5" name="Frihåndsform: figur 94">
              <a:extLst>
                <a:ext uri="{FF2B5EF4-FFF2-40B4-BE49-F238E27FC236}">
                  <a16:creationId xmlns:a16="http://schemas.microsoft.com/office/drawing/2014/main" id="{8818983C-3CAF-4BB1-9370-5EF6CA0918C4}"/>
                </a:ext>
              </a:extLst>
            </p:cNvPr>
            <p:cNvSpPr/>
            <p:nvPr/>
          </p:nvSpPr>
          <p:spPr>
            <a:xfrm>
              <a:off x="4703935" y="2238150"/>
              <a:ext cx="203155" cy="203155"/>
            </a:xfrm>
            <a:custGeom>
              <a:avLst/>
              <a:gdLst>
                <a:gd name="connsiteX0" fmla="*/ 102964 w 203155"/>
                <a:gd name="connsiteY0" fmla="*/ 193241 h 203155"/>
                <a:gd name="connsiteX1" fmla="*/ 193241 w 203155"/>
                <a:gd name="connsiteY1" fmla="*/ 102964 h 203155"/>
                <a:gd name="connsiteX2" fmla="*/ 102964 w 203155"/>
                <a:gd name="connsiteY2" fmla="*/ 12687 h 203155"/>
                <a:gd name="connsiteX3" fmla="*/ 12687 w 203155"/>
                <a:gd name="connsiteY3" fmla="*/ 102964 h 203155"/>
                <a:gd name="connsiteX4" fmla="*/ 102964 w 203155"/>
                <a:gd name="connsiteY4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155" h="203155">
                  <a:moveTo>
                    <a:pt x="102964" y="193241"/>
                  </a:moveTo>
                  <a:cubicBezTo>
                    <a:pt x="152826" y="193241"/>
                    <a:pt x="193241" y="152826"/>
                    <a:pt x="193241" y="102964"/>
                  </a:cubicBezTo>
                  <a:cubicBezTo>
                    <a:pt x="193241" y="53106"/>
                    <a:pt x="152826" y="12687"/>
                    <a:pt x="102964" y="12687"/>
                  </a:cubicBezTo>
                  <a:cubicBezTo>
                    <a:pt x="53102" y="12687"/>
                    <a:pt x="12687" y="53106"/>
                    <a:pt x="12687" y="102964"/>
                  </a:cubicBezTo>
                  <a:cubicBezTo>
                    <a:pt x="12687" y="152826"/>
                    <a:pt x="53102" y="193241"/>
                    <a:pt x="102964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6" name="Frihåndsform: figur 95">
              <a:extLst>
                <a:ext uri="{FF2B5EF4-FFF2-40B4-BE49-F238E27FC236}">
                  <a16:creationId xmlns:a16="http://schemas.microsoft.com/office/drawing/2014/main" id="{4785D78B-84B4-4298-92FD-D11E0DFB09C2}"/>
                </a:ext>
              </a:extLst>
            </p:cNvPr>
            <p:cNvSpPr/>
            <p:nvPr/>
          </p:nvSpPr>
          <p:spPr>
            <a:xfrm>
              <a:off x="5894172" y="2238149"/>
              <a:ext cx="203155" cy="203155"/>
            </a:xfrm>
            <a:custGeom>
              <a:avLst/>
              <a:gdLst>
                <a:gd name="connsiteX0" fmla="*/ 102837 w 203155"/>
                <a:gd name="connsiteY0" fmla="*/ 193241 h 203155"/>
                <a:gd name="connsiteX1" fmla="*/ 193241 w 203155"/>
                <a:gd name="connsiteY1" fmla="*/ 103091 h 203155"/>
                <a:gd name="connsiteX2" fmla="*/ 103091 w 203155"/>
                <a:gd name="connsiteY2" fmla="*/ 12687 h 203155"/>
                <a:gd name="connsiteX3" fmla="*/ 12687 w 203155"/>
                <a:gd name="connsiteY3" fmla="*/ 102837 h 203155"/>
                <a:gd name="connsiteX4" fmla="*/ 12687 w 203155"/>
                <a:gd name="connsiteY4" fmla="*/ 102964 h 203155"/>
                <a:gd name="connsiteX5" fmla="*/ 102837 w 203155"/>
                <a:gd name="connsiteY5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155" h="203155">
                  <a:moveTo>
                    <a:pt x="102837" y="193241"/>
                  </a:moveTo>
                  <a:cubicBezTo>
                    <a:pt x="152699" y="193318"/>
                    <a:pt x="193165" y="152953"/>
                    <a:pt x="193241" y="103091"/>
                  </a:cubicBezTo>
                  <a:cubicBezTo>
                    <a:pt x="193317" y="53233"/>
                    <a:pt x="152953" y="12757"/>
                    <a:pt x="103091" y="12687"/>
                  </a:cubicBezTo>
                  <a:cubicBezTo>
                    <a:pt x="53229" y="12617"/>
                    <a:pt x="12763" y="52979"/>
                    <a:pt x="12687" y="102837"/>
                  </a:cubicBezTo>
                  <a:cubicBezTo>
                    <a:pt x="12687" y="102875"/>
                    <a:pt x="12687" y="102926"/>
                    <a:pt x="12687" y="102964"/>
                  </a:cubicBezTo>
                  <a:cubicBezTo>
                    <a:pt x="12687" y="152775"/>
                    <a:pt x="53026" y="193165"/>
                    <a:pt x="102837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7" name="Frihåndsform: figur 96">
              <a:extLst>
                <a:ext uri="{FF2B5EF4-FFF2-40B4-BE49-F238E27FC236}">
                  <a16:creationId xmlns:a16="http://schemas.microsoft.com/office/drawing/2014/main" id="{06E7F51E-2370-4A73-9339-E41DAD9172ED}"/>
                </a:ext>
              </a:extLst>
            </p:cNvPr>
            <p:cNvSpPr/>
            <p:nvPr/>
          </p:nvSpPr>
          <p:spPr>
            <a:xfrm>
              <a:off x="7084790" y="2238150"/>
              <a:ext cx="203155" cy="203155"/>
            </a:xfrm>
            <a:custGeom>
              <a:avLst/>
              <a:gdLst>
                <a:gd name="connsiteX0" fmla="*/ 102964 w 203155"/>
                <a:gd name="connsiteY0" fmla="*/ 193241 h 203155"/>
                <a:gd name="connsiteX1" fmla="*/ 193241 w 203155"/>
                <a:gd name="connsiteY1" fmla="*/ 102964 h 203155"/>
                <a:gd name="connsiteX2" fmla="*/ 102964 w 203155"/>
                <a:gd name="connsiteY2" fmla="*/ 12687 h 203155"/>
                <a:gd name="connsiteX3" fmla="*/ 12687 w 203155"/>
                <a:gd name="connsiteY3" fmla="*/ 102964 h 203155"/>
                <a:gd name="connsiteX4" fmla="*/ 102964 w 203155"/>
                <a:gd name="connsiteY4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155" h="203155">
                  <a:moveTo>
                    <a:pt x="102964" y="193241"/>
                  </a:moveTo>
                  <a:cubicBezTo>
                    <a:pt x="152826" y="193241"/>
                    <a:pt x="193241" y="152826"/>
                    <a:pt x="193241" y="102964"/>
                  </a:cubicBezTo>
                  <a:cubicBezTo>
                    <a:pt x="193241" y="53106"/>
                    <a:pt x="152826" y="12687"/>
                    <a:pt x="102964" y="12687"/>
                  </a:cubicBezTo>
                  <a:cubicBezTo>
                    <a:pt x="53102" y="12687"/>
                    <a:pt x="12687" y="53106"/>
                    <a:pt x="12687" y="102964"/>
                  </a:cubicBezTo>
                  <a:cubicBezTo>
                    <a:pt x="12687" y="152826"/>
                    <a:pt x="53102" y="193241"/>
                    <a:pt x="102964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8" name="Frihåndsform: figur 97">
              <a:extLst>
                <a:ext uri="{FF2B5EF4-FFF2-40B4-BE49-F238E27FC236}">
                  <a16:creationId xmlns:a16="http://schemas.microsoft.com/office/drawing/2014/main" id="{9BF2FCE4-AC2E-4479-A631-6E5E032ED735}"/>
                </a:ext>
              </a:extLst>
            </p:cNvPr>
            <p:cNvSpPr/>
            <p:nvPr/>
          </p:nvSpPr>
          <p:spPr>
            <a:xfrm>
              <a:off x="7892333" y="2238150"/>
              <a:ext cx="203155" cy="203155"/>
            </a:xfrm>
            <a:custGeom>
              <a:avLst/>
              <a:gdLst>
                <a:gd name="connsiteX0" fmla="*/ 102964 w 203155"/>
                <a:gd name="connsiteY0" fmla="*/ 193241 h 203155"/>
                <a:gd name="connsiteX1" fmla="*/ 193241 w 203155"/>
                <a:gd name="connsiteY1" fmla="*/ 102964 h 203155"/>
                <a:gd name="connsiteX2" fmla="*/ 102964 w 203155"/>
                <a:gd name="connsiteY2" fmla="*/ 12687 h 203155"/>
                <a:gd name="connsiteX3" fmla="*/ 12687 w 203155"/>
                <a:gd name="connsiteY3" fmla="*/ 102964 h 203155"/>
                <a:gd name="connsiteX4" fmla="*/ 102964 w 203155"/>
                <a:gd name="connsiteY4" fmla="*/ 193241 h 203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155" h="203155">
                  <a:moveTo>
                    <a:pt x="102964" y="193241"/>
                  </a:moveTo>
                  <a:cubicBezTo>
                    <a:pt x="152826" y="193241"/>
                    <a:pt x="193241" y="152826"/>
                    <a:pt x="193241" y="102964"/>
                  </a:cubicBezTo>
                  <a:cubicBezTo>
                    <a:pt x="193241" y="53106"/>
                    <a:pt x="152826" y="12687"/>
                    <a:pt x="102964" y="12687"/>
                  </a:cubicBezTo>
                  <a:cubicBezTo>
                    <a:pt x="53102" y="12687"/>
                    <a:pt x="12687" y="53106"/>
                    <a:pt x="12687" y="102964"/>
                  </a:cubicBezTo>
                  <a:cubicBezTo>
                    <a:pt x="12687" y="152826"/>
                    <a:pt x="53102" y="193241"/>
                    <a:pt x="102964" y="193241"/>
                  </a:cubicBezTo>
                </a:path>
              </a:pathLst>
            </a:custGeom>
            <a:solidFill>
              <a:srgbClr val="F5A800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99" name="Frihåndsform: figur 98">
              <a:extLst>
                <a:ext uri="{FF2B5EF4-FFF2-40B4-BE49-F238E27FC236}">
                  <a16:creationId xmlns:a16="http://schemas.microsoft.com/office/drawing/2014/main" id="{77502132-0EE4-47E6-A0D3-9EFF89D7534B}"/>
                </a:ext>
              </a:extLst>
            </p:cNvPr>
            <p:cNvSpPr/>
            <p:nvPr/>
          </p:nvSpPr>
          <p:spPr>
            <a:xfrm>
              <a:off x="6633775" y="2551249"/>
              <a:ext cx="1104658" cy="1257025"/>
            </a:xfrm>
            <a:custGeom>
              <a:avLst/>
              <a:gdLst>
                <a:gd name="connsiteX0" fmla="*/ 12696 w 1104657"/>
                <a:gd name="connsiteY0" fmla="*/ 198969 h 1257024"/>
                <a:gd name="connsiteX1" fmla="*/ 12696 w 1104657"/>
                <a:gd name="connsiteY1" fmla="*/ 1174623 h 1257024"/>
                <a:gd name="connsiteX2" fmla="*/ 30472 w 1104657"/>
                <a:gd name="connsiteY2" fmla="*/ 1228333 h 1257024"/>
                <a:gd name="connsiteX3" fmla="*/ 48248 w 1104657"/>
                <a:gd name="connsiteY3" fmla="*/ 1246109 h 1257024"/>
                <a:gd name="connsiteX4" fmla="*/ 1023776 w 1104657"/>
                <a:gd name="connsiteY4" fmla="*/ 1246109 h 1257024"/>
                <a:gd name="connsiteX5" fmla="*/ 1077485 w 1104657"/>
                <a:gd name="connsiteY5" fmla="*/ 1228333 h 1257024"/>
                <a:gd name="connsiteX6" fmla="*/ 1095261 w 1104657"/>
                <a:gd name="connsiteY6" fmla="*/ 1210556 h 1257024"/>
                <a:gd name="connsiteX7" fmla="*/ 1095261 w 1104657"/>
                <a:gd name="connsiteY7" fmla="*/ 235410 h 1257024"/>
                <a:gd name="connsiteX8" fmla="*/ 1077485 w 1104657"/>
                <a:gd name="connsiteY8" fmla="*/ 181574 h 1257024"/>
                <a:gd name="connsiteX9" fmla="*/ 1059709 w 1104657"/>
                <a:gd name="connsiteY9" fmla="*/ 163925 h 1257024"/>
                <a:gd name="connsiteX10" fmla="*/ 691490 w 1104657"/>
                <a:gd name="connsiteY10" fmla="*/ 163925 h 1257024"/>
                <a:gd name="connsiteX11" fmla="*/ 636384 w 1104657"/>
                <a:gd name="connsiteY11" fmla="*/ 133451 h 1257024"/>
                <a:gd name="connsiteX12" fmla="*/ 588642 w 1104657"/>
                <a:gd name="connsiteY12" fmla="*/ 57268 h 1257024"/>
                <a:gd name="connsiteX13" fmla="*/ 553598 w 1104657"/>
                <a:gd name="connsiteY13" fmla="*/ 26795 h 1257024"/>
                <a:gd name="connsiteX14" fmla="*/ 537726 w 1104657"/>
                <a:gd name="connsiteY14" fmla="*/ 26795 h 1257024"/>
                <a:gd name="connsiteX15" fmla="*/ 471320 w 1104657"/>
                <a:gd name="connsiteY15" fmla="*/ 133451 h 1257024"/>
                <a:gd name="connsiteX16" fmla="*/ 416214 w 1104657"/>
                <a:gd name="connsiteY16" fmla="*/ 163925 h 1257024"/>
                <a:gd name="connsiteX17" fmla="*/ 48248 w 1104657"/>
                <a:gd name="connsiteY17" fmla="*/ 163925 h 1257024"/>
                <a:gd name="connsiteX18" fmla="*/ 12696 w 1104657"/>
                <a:gd name="connsiteY18" fmla="*/ 197941 h 1257024"/>
                <a:gd name="connsiteX19" fmla="*/ 12696 w 1104657"/>
                <a:gd name="connsiteY19" fmla="*/ 199350 h 12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04657" h="1257024">
                  <a:moveTo>
                    <a:pt x="12696" y="198969"/>
                  </a:moveTo>
                  <a:lnTo>
                    <a:pt x="12696" y="1174623"/>
                  </a:lnTo>
                  <a:cubicBezTo>
                    <a:pt x="12696" y="1174623"/>
                    <a:pt x="12696" y="1210556"/>
                    <a:pt x="30472" y="1228333"/>
                  </a:cubicBezTo>
                  <a:cubicBezTo>
                    <a:pt x="30472" y="1228333"/>
                    <a:pt x="12696" y="1246109"/>
                    <a:pt x="48248" y="1246109"/>
                  </a:cubicBezTo>
                  <a:lnTo>
                    <a:pt x="1023776" y="1246109"/>
                  </a:lnTo>
                  <a:cubicBezTo>
                    <a:pt x="1023776" y="1246109"/>
                    <a:pt x="1059709" y="1246109"/>
                    <a:pt x="1077485" y="1228333"/>
                  </a:cubicBezTo>
                  <a:cubicBezTo>
                    <a:pt x="1077485" y="1228333"/>
                    <a:pt x="1095261" y="1246109"/>
                    <a:pt x="1095261" y="1210556"/>
                  </a:cubicBezTo>
                  <a:lnTo>
                    <a:pt x="1095261" y="235410"/>
                  </a:lnTo>
                  <a:cubicBezTo>
                    <a:pt x="1095261" y="235410"/>
                    <a:pt x="1095261" y="199350"/>
                    <a:pt x="1077485" y="181574"/>
                  </a:cubicBezTo>
                  <a:cubicBezTo>
                    <a:pt x="1077485" y="181574"/>
                    <a:pt x="1095261" y="163925"/>
                    <a:pt x="1059709" y="163925"/>
                  </a:cubicBezTo>
                  <a:lnTo>
                    <a:pt x="691490" y="163925"/>
                  </a:lnTo>
                  <a:cubicBezTo>
                    <a:pt x="669308" y="163150"/>
                    <a:pt x="648827" y="151837"/>
                    <a:pt x="636384" y="133451"/>
                  </a:cubicBezTo>
                  <a:lnTo>
                    <a:pt x="588642" y="57268"/>
                  </a:lnTo>
                  <a:cubicBezTo>
                    <a:pt x="588642" y="57268"/>
                    <a:pt x="569469" y="26795"/>
                    <a:pt x="553598" y="26795"/>
                  </a:cubicBezTo>
                  <a:cubicBezTo>
                    <a:pt x="553598" y="26795"/>
                    <a:pt x="553598" y="-4948"/>
                    <a:pt x="537726" y="26795"/>
                  </a:cubicBezTo>
                  <a:lnTo>
                    <a:pt x="471320" y="133451"/>
                  </a:lnTo>
                  <a:cubicBezTo>
                    <a:pt x="458864" y="151812"/>
                    <a:pt x="438396" y="163137"/>
                    <a:pt x="416214" y="163925"/>
                  </a:cubicBezTo>
                  <a:lnTo>
                    <a:pt x="48248" y="163925"/>
                  </a:lnTo>
                  <a:cubicBezTo>
                    <a:pt x="29038" y="163506"/>
                    <a:pt x="13128" y="178730"/>
                    <a:pt x="12696" y="197941"/>
                  </a:cubicBezTo>
                  <a:cubicBezTo>
                    <a:pt x="12684" y="198410"/>
                    <a:pt x="12684" y="198880"/>
                    <a:pt x="12696" y="199350"/>
                  </a:cubicBezTo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288000" rIns="108000" bIns="108000" rtlCol="0" anchor="t"/>
            <a:lstStyle/>
            <a:p>
              <a:pPr lvl="0"/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1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2</a:t>
              </a:r>
            </a:p>
            <a:p>
              <a:endParaRPr lang="nb-NO" sz="2133"/>
            </a:p>
          </p:txBody>
        </p:sp>
        <p:sp>
          <p:nvSpPr>
            <p:cNvPr id="100" name="Frihåndsform: figur 99">
              <a:extLst>
                <a:ext uri="{FF2B5EF4-FFF2-40B4-BE49-F238E27FC236}">
                  <a16:creationId xmlns:a16="http://schemas.microsoft.com/office/drawing/2014/main" id="{DD12B4A4-63FF-431E-8C7A-3EB4B7CBCEBB}"/>
                </a:ext>
              </a:extLst>
            </p:cNvPr>
            <p:cNvSpPr/>
            <p:nvPr/>
          </p:nvSpPr>
          <p:spPr>
            <a:xfrm>
              <a:off x="5442395" y="2551249"/>
              <a:ext cx="1104658" cy="1257025"/>
            </a:xfrm>
            <a:custGeom>
              <a:avLst/>
              <a:gdLst>
                <a:gd name="connsiteX0" fmla="*/ 13331 w 1104657"/>
                <a:gd name="connsiteY0" fmla="*/ 198969 h 1257024"/>
                <a:gd name="connsiteX1" fmla="*/ 13331 w 1104657"/>
                <a:gd name="connsiteY1" fmla="*/ 1174623 h 1257024"/>
                <a:gd name="connsiteX2" fmla="*/ 31107 w 1104657"/>
                <a:gd name="connsiteY2" fmla="*/ 1228333 h 1257024"/>
                <a:gd name="connsiteX3" fmla="*/ 48883 w 1104657"/>
                <a:gd name="connsiteY3" fmla="*/ 1246109 h 1257024"/>
                <a:gd name="connsiteX4" fmla="*/ 1024537 w 1104657"/>
                <a:gd name="connsiteY4" fmla="*/ 1246109 h 1257024"/>
                <a:gd name="connsiteX5" fmla="*/ 1078247 w 1104657"/>
                <a:gd name="connsiteY5" fmla="*/ 1228333 h 1257024"/>
                <a:gd name="connsiteX6" fmla="*/ 1096023 w 1104657"/>
                <a:gd name="connsiteY6" fmla="*/ 1210556 h 1257024"/>
                <a:gd name="connsiteX7" fmla="*/ 1096023 w 1104657"/>
                <a:gd name="connsiteY7" fmla="*/ 235410 h 1257024"/>
                <a:gd name="connsiteX8" fmla="*/ 1078247 w 1104657"/>
                <a:gd name="connsiteY8" fmla="*/ 181574 h 1257024"/>
                <a:gd name="connsiteX9" fmla="*/ 1060471 w 1104657"/>
                <a:gd name="connsiteY9" fmla="*/ 163925 h 1257024"/>
                <a:gd name="connsiteX10" fmla="*/ 692251 w 1104657"/>
                <a:gd name="connsiteY10" fmla="*/ 163925 h 1257024"/>
                <a:gd name="connsiteX11" fmla="*/ 637146 w 1104657"/>
                <a:gd name="connsiteY11" fmla="*/ 133451 h 1257024"/>
                <a:gd name="connsiteX12" fmla="*/ 589531 w 1104657"/>
                <a:gd name="connsiteY12" fmla="*/ 57268 h 1257024"/>
                <a:gd name="connsiteX13" fmla="*/ 554360 w 1104657"/>
                <a:gd name="connsiteY13" fmla="*/ 26795 h 1257024"/>
                <a:gd name="connsiteX14" fmla="*/ 538488 w 1104657"/>
                <a:gd name="connsiteY14" fmla="*/ 26795 h 1257024"/>
                <a:gd name="connsiteX15" fmla="*/ 471701 w 1104657"/>
                <a:gd name="connsiteY15" fmla="*/ 132944 h 1257024"/>
                <a:gd name="connsiteX16" fmla="*/ 416468 w 1104657"/>
                <a:gd name="connsiteY16" fmla="*/ 163417 h 1257024"/>
                <a:gd name="connsiteX17" fmla="*/ 48249 w 1104657"/>
                <a:gd name="connsiteY17" fmla="*/ 163417 h 1257024"/>
                <a:gd name="connsiteX18" fmla="*/ 12696 w 1104657"/>
                <a:gd name="connsiteY18" fmla="*/ 197433 h 1257024"/>
                <a:gd name="connsiteX19" fmla="*/ 12696 w 1104657"/>
                <a:gd name="connsiteY19" fmla="*/ 198842 h 12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04657" h="1257024">
                  <a:moveTo>
                    <a:pt x="13331" y="198969"/>
                  </a:moveTo>
                  <a:lnTo>
                    <a:pt x="13331" y="1174623"/>
                  </a:lnTo>
                  <a:cubicBezTo>
                    <a:pt x="13331" y="1174623"/>
                    <a:pt x="13331" y="1210556"/>
                    <a:pt x="31107" y="1228333"/>
                  </a:cubicBezTo>
                  <a:cubicBezTo>
                    <a:pt x="31107" y="1228333"/>
                    <a:pt x="13331" y="1246109"/>
                    <a:pt x="48883" y="1246109"/>
                  </a:cubicBezTo>
                  <a:lnTo>
                    <a:pt x="1024537" y="1246109"/>
                  </a:lnTo>
                  <a:cubicBezTo>
                    <a:pt x="1024537" y="1246109"/>
                    <a:pt x="1060471" y="1246109"/>
                    <a:pt x="1078247" y="1228333"/>
                  </a:cubicBezTo>
                  <a:cubicBezTo>
                    <a:pt x="1078247" y="1228333"/>
                    <a:pt x="1096023" y="1246109"/>
                    <a:pt x="1096023" y="1210556"/>
                  </a:cubicBezTo>
                  <a:lnTo>
                    <a:pt x="1096023" y="235410"/>
                  </a:lnTo>
                  <a:cubicBezTo>
                    <a:pt x="1096023" y="235410"/>
                    <a:pt x="1096023" y="199350"/>
                    <a:pt x="1078247" y="181574"/>
                  </a:cubicBezTo>
                  <a:cubicBezTo>
                    <a:pt x="1078247" y="181574"/>
                    <a:pt x="1096023" y="163925"/>
                    <a:pt x="1060471" y="163925"/>
                  </a:cubicBezTo>
                  <a:lnTo>
                    <a:pt x="692251" y="163925"/>
                  </a:lnTo>
                  <a:cubicBezTo>
                    <a:pt x="670069" y="163137"/>
                    <a:pt x="649601" y="151812"/>
                    <a:pt x="637146" y="133451"/>
                  </a:cubicBezTo>
                  <a:lnTo>
                    <a:pt x="589531" y="57268"/>
                  </a:lnTo>
                  <a:cubicBezTo>
                    <a:pt x="589531" y="57268"/>
                    <a:pt x="570231" y="26795"/>
                    <a:pt x="554360" y="26795"/>
                  </a:cubicBezTo>
                  <a:cubicBezTo>
                    <a:pt x="554360" y="26795"/>
                    <a:pt x="554360" y="-4948"/>
                    <a:pt x="538488" y="26795"/>
                  </a:cubicBezTo>
                  <a:lnTo>
                    <a:pt x="471701" y="132944"/>
                  </a:lnTo>
                  <a:cubicBezTo>
                    <a:pt x="459207" y="151329"/>
                    <a:pt x="438688" y="162642"/>
                    <a:pt x="416468" y="163417"/>
                  </a:cubicBezTo>
                  <a:lnTo>
                    <a:pt x="48249" y="163417"/>
                  </a:lnTo>
                  <a:cubicBezTo>
                    <a:pt x="29038" y="162998"/>
                    <a:pt x="13128" y="178222"/>
                    <a:pt x="12696" y="197433"/>
                  </a:cubicBezTo>
                  <a:cubicBezTo>
                    <a:pt x="12684" y="197903"/>
                    <a:pt x="12684" y="198372"/>
                    <a:pt x="12696" y="198842"/>
                  </a:cubicBezTo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288000" rIns="108000" bIns="108000" rtlCol="0" anchor="t"/>
            <a:lstStyle/>
            <a:p>
              <a:pPr lvl="0"/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1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2</a:t>
              </a:r>
            </a:p>
            <a:p>
              <a:endParaRPr lang="nb-NO" sz="2133"/>
            </a:p>
          </p:txBody>
        </p:sp>
        <p:sp>
          <p:nvSpPr>
            <p:cNvPr id="101" name="Frihåndsform: figur 100">
              <a:extLst>
                <a:ext uri="{FF2B5EF4-FFF2-40B4-BE49-F238E27FC236}">
                  <a16:creationId xmlns:a16="http://schemas.microsoft.com/office/drawing/2014/main" id="{B582D60C-AA4B-49DC-867C-7CBB86702A72}"/>
                </a:ext>
              </a:extLst>
            </p:cNvPr>
            <p:cNvSpPr/>
            <p:nvPr/>
          </p:nvSpPr>
          <p:spPr>
            <a:xfrm>
              <a:off x="4252920" y="2551249"/>
              <a:ext cx="1104658" cy="1257025"/>
            </a:xfrm>
            <a:custGeom>
              <a:avLst/>
              <a:gdLst>
                <a:gd name="connsiteX0" fmla="*/ 12696 w 1104657"/>
                <a:gd name="connsiteY0" fmla="*/ 198969 h 1257024"/>
                <a:gd name="connsiteX1" fmla="*/ 12696 w 1104657"/>
                <a:gd name="connsiteY1" fmla="*/ 1174623 h 1257024"/>
                <a:gd name="connsiteX2" fmla="*/ 30472 w 1104657"/>
                <a:gd name="connsiteY2" fmla="*/ 1228333 h 1257024"/>
                <a:gd name="connsiteX3" fmla="*/ 48249 w 1104657"/>
                <a:gd name="connsiteY3" fmla="*/ 1246109 h 1257024"/>
                <a:gd name="connsiteX4" fmla="*/ 1023776 w 1104657"/>
                <a:gd name="connsiteY4" fmla="*/ 1246109 h 1257024"/>
                <a:gd name="connsiteX5" fmla="*/ 1077485 w 1104657"/>
                <a:gd name="connsiteY5" fmla="*/ 1228333 h 1257024"/>
                <a:gd name="connsiteX6" fmla="*/ 1095261 w 1104657"/>
                <a:gd name="connsiteY6" fmla="*/ 1210556 h 1257024"/>
                <a:gd name="connsiteX7" fmla="*/ 1095261 w 1104657"/>
                <a:gd name="connsiteY7" fmla="*/ 235410 h 1257024"/>
                <a:gd name="connsiteX8" fmla="*/ 1077485 w 1104657"/>
                <a:gd name="connsiteY8" fmla="*/ 181574 h 1257024"/>
                <a:gd name="connsiteX9" fmla="*/ 1059709 w 1104657"/>
                <a:gd name="connsiteY9" fmla="*/ 163925 h 1257024"/>
                <a:gd name="connsiteX10" fmla="*/ 691490 w 1104657"/>
                <a:gd name="connsiteY10" fmla="*/ 163925 h 1257024"/>
                <a:gd name="connsiteX11" fmla="*/ 636257 w 1104657"/>
                <a:gd name="connsiteY11" fmla="*/ 133451 h 1257024"/>
                <a:gd name="connsiteX12" fmla="*/ 588642 w 1104657"/>
                <a:gd name="connsiteY12" fmla="*/ 57268 h 1257024"/>
                <a:gd name="connsiteX13" fmla="*/ 553598 w 1104657"/>
                <a:gd name="connsiteY13" fmla="*/ 26795 h 1257024"/>
                <a:gd name="connsiteX14" fmla="*/ 537726 w 1104657"/>
                <a:gd name="connsiteY14" fmla="*/ 26795 h 1257024"/>
                <a:gd name="connsiteX15" fmla="*/ 470812 w 1104657"/>
                <a:gd name="connsiteY15" fmla="*/ 132944 h 1257024"/>
                <a:gd name="connsiteX16" fmla="*/ 415706 w 1104657"/>
                <a:gd name="connsiteY16" fmla="*/ 163417 h 1257024"/>
                <a:gd name="connsiteX17" fmla="*/ 48249 w 1104657"/>
                <a:gd name="connsiteY17" fmla="*/ 163417 h 1257024"/>
                <a:gd name="connsiteX18" fmla="*/ 12696 w 1104657"/>
                <a:gd name="connsiteY18" fmla="*/ 197433 h 1257024"/>
                <a:gd name="connsiteX19" fmla="*/ 12696 w 1104657"/>
                <a:gd name="connsiteY19" fmla="*/ 198842 h 12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04657" h="1257024">
                  <a:moveTo>
                    <a:pt x="12696" y="198969"/>
                  </a:moveTo>
                  <a:lnTo>
                    <a:pt x="12696" y="1174623"/>
                  </a:lnTo>
                  <a:cubicBezTo>
                    <a:pt x="12696" y="1174623"/>
                    <a:pt x="12696" y="1210556"/>
                    <a:pt x="30472" y="1228333"/>
                  </a:cubicBezTo>
                  <a:cubicBezTo>
                    <a:pt x="30472" y="1228333"/>
                    <a:pt x="12696" y="1246109"/>
                    <a:pt x="48249" y="1246109"/>
                  </a:cubicBezTo>
                  <a:lnTo>
                    <a:pt x="1023776" y="1246109"/>
                  </a:lnTo>
                  <a:cubicBezTo>
                    <a:pt x="1023776" y="1246109"/>
                    <a:pt x="1059709" y="1246109"/>
                    <a:pt x="1077485" y="1228333"/>
                  </a:cubicBezTo>
                  <a:cubicBezTo>
                    <a:pt x="1077485" y="1228333"/>
                    <a:pt x="1095261" y="1246109"/>
                    <a:pt x="1095261" y="1210556"/>
                  </a:cubicBezTo>
                  <a:lnTo>
                    <a:pt x="1095261" y="235410"/>
                  </a:lnTo>
                  <a:cubicBezTo>
                    <a:pt x="1095261" y="235410"/>
                    <a:pt x="1095261" y="199350"/>
                    <a:pt x="1077485" y="181574"/>
                  </a:cubicBezTo>
                  <a:cubicBezTo>
                    <a:pt x="1077485" y="181574"/>
                    <a:pt x="1095261" y="163925"/>
                    <a:pt x="1059709" y="163925"/>
                  </a:cubicBezTo>
                  <a:lnTo>
                    <a:pt x="691490" y="163925"/>
                  </a:lnTo>
                  <a:cubicBezTo>
                    <a:pt x="669269" y="163150"/>
                    <a:pt x="648751" y="151837"/>
                    <a:pt x="636257" y="133451"/>
                  </a:cubicBezTo>
                  <a:lnTo>
                    <a:pt x="588642" y="57268"/>
                  </a:lnTo>
                  <a:cubicBezTo>
                    <a:pt x="588642" y="57268"/>
                    <a:pt x="569470" y="26795"/>
                    <a:pt x="553598" y="26795"/>
                  </a:cubicBezTo>
                  <a:cubicBezTo>
                    <a:pt x="553598" y="26795"/>
                    <a:pt x="553598" y="-4948"/>
                    <a:pt x="537726" y="26795"/>
                  </a:cubicBezTo>
                  <a:lnTo>
                    <a:pt x="470812" y="132944"/>
                  </a:lnTo>
                  <a:cubicBezTo>
                    <a:pt x="458356" y="151304"/>
                    <a:pt x="437888" y="162630"/>
                    <a:pt x="415706" y="163417"/>
                  </a:cubicBezTo>
                  <a:lnTo>
                    <a:pt x="48249" y="163417"/>
                  </a:lnTo>
                  <a:cubicBezTo>
                    <a:pt x="29038" y="162998"/>
                    <a:pt x="13128" y="178222"/>
                    <a:pt x="12696" y="197433"/>
                  </a:cubicBezTo>
                  <a:cubicBezTo>
                    <a:pt x="12684" y="197903"/>
                    <a:pt x="12684" y="198372"/>
                    <a:pt x="12696" y="198842"/>
                  </a:cubicBezTo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288000" rIns="108000" bIns="108000" rtlCol="0" anchor="t"/>
            <a:lstStyle/>
            <a:p>
              <a:pPr lvl="0"/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1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2</a:t>
              </a:r>
            </a:p>
            <a:p>
              <a:endParaRPr lang="nb-NO" sz="2133"/>
            </a:p>
          </p:txBody>
        </p:sp>
        <p:sp>
          <p:nvSpPr>
            <p:cNvPr id="102" name="Frihåndsform: figur 101">
              <a:extLst>
                <a:ext uri="{FF2B5EF4-FFF2-40B4-BE49-F238E27FC236}">
                  <a16:creationId xmlns:a16="http://schemas.microsoft.com/office/drawing/2014/main" id="{E8C5A1CE-7460-42AA-8DDA-4C25F73C9EEE}"/>
                </a:ext>
              </a:extLst>
            </p:cNvPr>
            <p:cNvSpPr/>
            <p:nvPr/>
          </p:nvSpPr>
          <p:spPr>
            <a:xfrm>
              <a:off x="3060778" y="2551249"/>
              <a:ext cx="1104658" cy="1257025"/>
            </a:xfrm>
            <a:custGeom>
              <a:avLst/>
              <a:gdLst>
                <a:gd name="connsiteX0" fmla="*/ 13585 w 1104657"/>
                <a:gd name="connsiteY0" fmla="*/ 198969 h 1257024"/>
                <a:gd name="connsiteX1" fmla="*/ 13585 w 1104657"/>
                <a:gd name="connsiteY1" fmla="*/ 1174623 h 1257024"/>
                <a:gd name="connsiteX2" fmla="*/ 31361 w 1104657"/>
                <a:gd name="connsiteY2" fmla="*/ 1228333 h 1257024"/>
                <a:gd name="connsiteX3" fmla="*/ 49137 w 1104657"/>
                <a:gd name="connsiteY3" fmla="*/ 1246109 h 1257024"/>
                <a:gd name="connsiteX4" fmla="*/ 1024665 w 1104657"/>
                <a:gd name="connsiteY4" fmla="*/ 1246109 h 1257024"/>
                <a:gd name="connsiteX5" fmla="*/ 1078501 w 1104657"/>
                <a:gd name="connsiteY5" fmla="*/ 1228333 h 1257024"/>
                <a:gd name="connsiteX6" fmla="*/ 1096150 w 1104657"/>
                <a:gd name="connsiteY6" fmla="*/ 1210556 h 1257024"/>
                <a:gd name="connsiteX7" fmla="*/ 1096150 w 1104657"/>
                <a:gd name="connsiteY7" fmla="*/ 235410 h 1257024"/>
                <a:gd name="connsiteX8" fmla="*/ 1078501 w 1104657"/>
                <a:gd name="connsiteY8" fmla="*/ 181574 h 1257024"/>
                <a:gd name="connsiteX9" fmla="*/ 1060725 w 1104657"/>
                <a:gd name="connsiteY9" fmla="*/ 163925 h 1257024"/>
                <a:gd name="connsiteX10" fmla="*/ 692251 w 1104657"/>
                <a:gd name="connsiteY10" fmla="*/ 163925 h 1257024"/>
                <a:gd name="connsiteX11" fmla="*/ 637146 w 1104657"/>
                <a:gd name="connsiteY11" fmla="*/ 133451 h 1257024"/>
                <a:gd name="connsiteX12" fmla="*/ 589404 w 1104657"/>
                <a:gd name="connsiteY12" fmla="*/ 57268 h 1257024"/>
                <a:gd name="connsiteX13" fmla="*/ 554360 w 1104657"/>
                <a:gd name="connsiteY13" fmla="*/ 26795 h 1257024"/>
                <a:gd name="connsiteX14" fmla="*/ 538488 w 1104657"/>
                <a:gd name="connsiteY14" fmla="*/ 26795 h 1257024"/>
                <a:gd name="connsiteX15" fmla="*/ 471701 w 1104657"/>
                <a:gd name="connsiteY15" fmla="*/ 132944 h 1257024"/>
                <a:gd name="connsiteX16" fmla="*/ 416468 w 1104657"/>
                <a:gd name="connsiteY16" fmla="*/ 163417 h 1257024"/>
                <a:gd name="connsiteX17" fmla="*/ 48249 w 1104657"/>
                <a:gd name="connsiteY17" fmla="*/ 163417 h 1257024"/>
                <a:gd name="connsiteX18" fmla="*/ 12696 w 1104657"/>
                <a:gd name="connsiteY18" fmla="*/ 197433 h 1257024"/>
                <a:gd name="connsiteX19" fmla="*/ 12696 w 1104657"/>
                <a:gd name="connsiteY19" fmla="*/ 198842 h 12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04657" h="1257024">
                  <a:moveTo>
                    <a:pt x="13585" y="198969"/>
                  </a:moveTo>
                  <a:lnTo>
                    <a:pt x="13585" y="1174623"/>
                  </a:lnTo>
                  <a:cubicBezTo>
                    <a:pt x="13585" y="1174623"/>
                    <a:pt x="13585" y="1210556"/>
                    <a:pt x="31361" y="1228333"/>
                  </a:cubicBezTo>
                  <a:cubicBezTo>
                    <a:pt x="31361" y="1228333"/>
                    <a:pt x="13585" y="1246109"/>
                    <a:pt x="49137" y="1246109"/>
                  </a:cubicBezTo>
                  <a:lnTo>
                    <a:pt x="1024665" y="1246109"/>
                  </a:lnTo>
                  <a:cubicBezTo>
                    <a:pt x="1024665" y="1246109"/>
                    <a:pt x="1060725" y="1246109"/>
                    <a:pt x="1078501" y="1228333"/>
                  </a:cubicBezTo>
                  <a:cubicBezTo>
                    <a:pt x="1078501" y="1228333"/>
                    <a:pt x="1096150" y="1246109"/>
                    <a:pt x="1096150" y="1210556"/>
                  </a:cubicBezTo>
                  <a:lnTo>
                    <a:pt x="1096150" y="235410"/>
                  </a:lnTo>
                  <a:cubicBezTo>
                    <a:pt x="1096150" y="235410"/>
                    <a:pt x="1096150" y="199350"/>
                    <a:pt x="1078501" y="181574"/>
                  </a:cubicBezTo>
                  <a:cubicBezTo>
                    <a:pt x="1078501" y="181574"/>
                    <a:pt x="1096150" y="163925"/>
                    <a:pt x="1060725" y="163925"/>
                  </a:cubicBezTo>
                  <a:lnTo>
                    <a:pt x="692251" y="163925"/>
                  </a:lnTo>
                  <a:cubicBezTo>
                    <a:pt x="670069" y="163137"/>
                    <a:pt x="649602" y="151812"/>
                    <a:pt x="637146" y="133451"/>
                  </a:cubicBezTo>
                  <a:lnTo>
                    <a:pt x="589404" y="57268"/>
                  </a:lnTo>
                  <a:cubicBezTo>
                    <a:pt x="589404" y="57268"/>
                    <a:pt x="570231" y="26795"/>
                    <a:pt x="554360" y="26795"/>
                  </a:cubicBezTo>
                  <a:cubicBezTo>
                    <a:pt x="554360" y="26795"/>
                    <a:pt x="554360" y="-4948"/>
                    <a:pt x="538488" y="26795"/>
                  </a:cubicBezTo>
                  <a:lnTo>
                    <a:pt x="471701" y="132944"/>
                  </a:lnTo>
                  <a:cubicBezTo>
                    <a:pt x="459207" y="151329"/>
                    <a:pt x="438688" y="162642"/>
                    <a:pt x="416468" y="163417"/>
                  </a:cubicBezTo>
                  <a:lnTo>
                    <a:pt x="48249" y="163417"/>
                  </a:lnTo>
                  <a:cubicBezTo>
                    <a:pt x="29038" y="162998"/>
                    <a:pt x="13128" y="178222"/>
                    <a:pt x="12696" y="197433"/>
                  </a:cubicBezTo>
                  <a:cubicBezTo>
                    <a:pt x="12684" y="197903"/>
                    <a:pt x="12684" y="198372"/>
                    <a:pt x="12696" y="198842"/>
                  </a:cubicBezTo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288000" rIns="108000" bIns="108000" rtlCol="0" anchor="t"/>
            <a:lstStyle/>
            <a:p>
              <a:pPr lvl="0"/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1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2</a:t>
              </a:r>
            </a:p>
            <a:p>
              <a:endParaRPr lang="nb-NO" sz="2133"/>
            </a:p>
          </p:txBody>
        </p:sp>
        <p:sp>
          <p:nvSpPr>
            <p:cNvPr id="103" name="Frihåndsform: figur 102">
              <a:extLst>
                <a:ext uri="{FF2B5EF4-FFF2-40B4-BE49-F238E27FC236}">
                  <a16:creationId xmlns:a16="http://schemas.microsoft.com/office/drawing/2014/main" id="{4064921B-C026-4E8B-9C67-1BABA5BE1C7F}"/>
                </a:ext>
              </a:extLst>
            </p:cNvPr>
            <p:cNvSpPr/>
            <p:nvPr/>
          </p:nvSpPr>
          <p:spPr>
            <a:xfrm>
              <a:off x="1871047" y="2551249"/>
              <a:ext cx="1104658" cy="1257025"/>
            </a:xfrm>
            <a:custGeom>
              <a:avLst/>
              <a:gdLst>
                <a:gd name="connsiteX0" fmla="*/ 12698 w 1104657"/>
                <a:gd name="connsiteY0" fmla="*/ 198969 h 1257024"/>
                <a:gd name="connsiteX1" fmla="*/ 12698 w 1104657"/>
                <a:gd name="connsiteY1" fmla="*/ 1174623 h 1257024"/>
                <a:gd name="connsiteX2" fmla="*/ 30348 w 1104657"/>
                <a:gd name="connsiteY2" fmla="*/ 1228333 h 1257024"/>
                <a:gd name="connsiteX3" fmla="*/ 48124 w 1104657"/>
                <a:gd name="connsiteY3" fmla="*/ 1246109 h 1257024"/>
                <a:gd name="connsiteX4" fmla="*/ 1023778 w 1104657"/>
                <a:gd name="connsiteY4" fmla="*/ 1246109 h 1257024"/>
                <a:gd name="connsiteX5" fmla="*/ 1077487 w 1104657"/>
                <a:gd name="connsiteY5" fmla="*/ 1228333 h 1257024"/>
                <a:gd name="connsiteX6" fmla="*/ 1095263 w 1104657"/>
                <a:gd name="connsiteY6" fmla="*/ 1210556 h 1257024"/>
                <a:gd name="connsiteX7" fmla="*/ 1095263 w 1104657"/>
                <a:gd name="connsiteY7" fmla="*/ 235410 h 1257024"/>
                <a:gd name="connsiteX8" fmla="*/ 1077487 w 1104657"/>
                <a:gd name="connsiteY8" fmla="*/ 181574 h 1257024"/>
                <a:gd name="connsiteX9" fmla="*/ 1059711 w 1104657"/>
                <a:gd name="connsiteY9" fmla="*/ 163925 h 1257024"/>
                <a:gd name="connsiteX10" fmla="*/ 691492 w 1104657"/>
                <a:gd name="connsiteY10" fmla="*/ 163925 h 1257024"/>
                <a:gd name="connsiteX11" fmla="*/ 636259 w 1104657"/>
                <a:gd name="connsiteY11" fmla="*/ 133451 h 1257024"/>
                <a:gd name="connsiteX12" fmla="*/ 588644 w 1104657"/>
                <a:gd name="connsiteY12" fmla="*/ 57268 h 1257024"/>
                <a:gd name="connsiteX13" fmla="*/ 553600 w 1104657"/>
                <a:gd name="connsiteY13" fmla="*/ 26795 h 1257024"/>
                <a:gd name="connsiteX14" fmla="*/ 537729 w 1104657"/>
                <a:gd name="connsiteY14" fmla="*/ 26795 h 1257024"/>
                <a:gd name="connsiteX15" fmla="*/ 470814 w 1104657"/>
                <a:gd name="connsiteY15" fmla="*/ 132944 h 1257024"/>
                <a:gd name="connsiteX16" fmla="*/ 415708 w 1104657"/>
                <a:gd name="connsiteY16" fmla="*/ 163417 h 1257024"/>
                <a:gd name="connsiteX17" fmla="*/ 47489 w 1104657"/>
                <a:gd name="connsiteY17" fmla="*/ 163417 h 1257024"/>
                <a:gd name="connsiteX18" fmla="*/ 12687 w 1104657"/>
                <a:gd name="connsiteY18" fmla="*/ 197941 h 1257024"/>
                <a:gd name="connsiteX19" fmla="*/ 12698 w 1104657"/>
                <a:gd name="connsiteY19" fmla="*/ 198969 h 12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04657" h="1257024">
                  <a:moveTo>
                    <a:pt x="12698" y="198969"/>
                  </a:moveTo>
                  <a:lnTo>
                    <a:pt x="12698" y="1174623"/>
                  </a:lnTo>
                  <a:cubicBezTo>
                    <a:pt x="12698" y="1174623"/>
                    <a:pt x="12698" y="1210556"/>
                    <a:pt x="30348" y="1228333"/>
                  </a:cubicBezTo>
                  <a:cubicBezTo>
                    <a:pt x="30348" y="1228333"/>
                    <a:pt x="12698" y="1246109"/>
                    <a:pt x="48124" y="1246109"/>
                  </a:cubicBezTo>
                  <a:lnTo>
                    <a:pt x="1023778" y="1246109"/>
                  </a:lnTo>
                  <a:cubicBezTo>
                    <a:pt x="1023778" y="1246109"/>
                    <a:pt x="1059711" y="1246109"/>
                    <a:pt x="1077487" y="1228333"/>
                  </a:cubicBezTo>
                  <a:cubicBezTo>
                    <a:pt x="1077487" y="1228333"/>
                    <a:pt x="1095263" y="1246109"/>
                    <a:pt x="1095263" y="1210556"/>
                  </a:cubicBezTo>
                  <a:lnTo>
                    <a:pt x="1095263" y="235410"/>
                  </a:lnTo>
                  <a:cubicBezTo>
                    <a:pt x="1095263" y="235410"/>
                    <a:pt x="1095263" y="199350"/>
                    <a:pt x="1077487" y="181574"/>
                  </a:cubicBezTo>
                  <a:cubicBezTo>
                    <a:pt x="1077487" y="181574"/>
                    <a:pt x="1095263" y="163925"/>
                    <a:pt x="1059711" y="163925"/>
                  </a:cubicBezTo>
                  <a:lnTo>
                    <a:pt x="691492" y="163925"/>
                  </a:lnTo>
                  <a:cubicBezTo>
                    <a:pt x="669272" y="163150"/>
                    <a:pt x="648753" y="151837"/>
                    <a:pt x="636259" y="133451"/>
                  </a:cubicBezTo>
                  <a:lnTo>
                    <a:pt x="588644" y="57268"/>
                  </a:lnTo>
                  <a:cubicBezTo>
                    <a:pt x="588644" y="57268"/>
                    <a:pt x="569472" y="26795"/>
                    <a:pt x="553600" y="26795"/>
                  </a:cubicBezTo>
                  <a:cubicBezTo>
                    <a:pt x="553600" y="26795"/>
                    <a:pt x="553600" y="-4948"/>
                    <a:pt x="537729" y="26795"/>
                  </a:cubicBezTo>
                  <a:lnTo>
                    <a:pt x="470814" y="132944"/>
                  </a:lnTo>
                  <a:cubicBezTo>
                    <a:pt x="458358" y="151304"/>
                    <a:pt x="437890" y="162630"/>
                    <a:pt x="415708" y="163417"/>
                  </a:cubicBezTo>
                  <a:lnTo>
                    <a:pt x="47489" y="163417"/>
                  </a:lnTo>
                  <a:cubicBezTo>
                    <a:pt x="28345" y="163341"/>
                    <a:pt x="12763" y="178793"/>
                    <a:pt x="12687" y="197941"/>
                  </a:cubicBezTo>
                  <a:cubicBezTo>
                    <a:pt x="12686" y="198283"/>
                    <a:pt x="12690" y="198626"/>
                    <a:pt x="12698" y="198969"/>
                  </a:cubicBezTo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288000" rIns="108000" bIns="108000" rtlCol="0" anchor="t"/>
            <a:lstStyle/>
            <a:p>
              <a:pPr lvl="0"/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1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2</a:t>
              </a:r>
            </a:p>
          </p:txBody>
        </p:sp>
        <p:sp>
          <p:nvSpPr>
            <p:cNvPr id="104" name="Frihåndsform: figur 103">
              <a:extLst>
                <a:ext uri="{FF2B5EF4-FFF2-40B4-BE49-F238E27FC236}">
                  <a16:creationId xmlns:a16="http://schemas.microsoft.com/office/drawing/2014/main" id="{C88B8796-DB7C-4D7B-9DB9-5C6928180483}"/>
                </a:ext>
              </a:extLst>
            </p:cNvPr>
            <p:cNvSpPr/>
            <p:nvPr/>
          </p:nvSpPr>
          <p:spPr>
            <a:xfrm>
              <a:off x="680305" y="2551249"/>
              <a:ext cx="1104658" cy="1257025"/>
            </a:xfrm>
            <a:custGeom>
              <a:avLst/>
              <a:gdLst>
                <a:gd name="connsiteX0" fmla="*/ 12695 w 1104657"/>
                <a:gd name="connsiteY0" fmla="*/ 198969 h 1257024"/>
                <a:gd name="connsiteX1" fmla="*/ 12695 w 1104657"/>
                <a:gd name="connsiteY1" fmla="*/ 1174623 h 1257024"/>
                <a:gd name="connsiteX2" fmla="*/ 30471 w 1104657"/>
                <a:gd name="connsiteY2" fmla="*/ 1228333 h 1257024"/>
                <a:gd name="connsiteX3" fmla="*/ 48248 w 1104657"/>
                <a:gd name="connsiteY3" fmla="*/ 1246109 h 1257024"/>
                <a:gd name="connsiteX4" fmla="*/ 1023775 w 1104657"/>
                <a:gd name="connsiteY4" fmla="*/ 1246109 h 1257024"/>
                <a:gd name="connsiteX5" fmla="*/ 1077484 w 1104657"/>
                <a:gd name="connsiteY5" fmla="*/ 1228333 h 1257024"/>
                <a:gd name="connsiteX6" fmla="*/ 1095260 w 1104657"/>
                <a:gd name="connsiteY6" fmla="*/ 1210556 h 1257024"/>
                <a:gd name="connsiteX7" fmla="*/ 1095260 w 1104657"/>
                <a:gd name="connsiteY7" fmla="*/ 235410 h 1257024"/>
                <a:gd name="connsiteX8" fmla="*/ 1077484 w 1104657"/>
                <a:gd name="connsiteY8" fmla="*/ 181574 h 1257024"/>
                <a:gd name="connsiteX9" fmla="*/ 1059835 w 1104657"/>
                <a:gd name="connsiteY9" fmla="*/ 163925 h 1257024"/>
                <a:gd name="connsiteX10" fmla="*/ 691616 w 1104657"/>
                <a:gd name="connsiteY10" fmla="*/ 163925 h 1257024"/>
                <a:gd name="connsiteX11" fmla="*/ 636383 w 1104657"/>
                <a:gd name="connsiteY11" fmla="*/ 133451 h 1257024"/>
                <a:gd name="connsiteX12" fmla="*/ 588768 w 1104657"/>
                <a:gd name="connsiteY12" fmla="*/ 57268 h 1257024"/>
                <a:gd name="connsiteX13" fmla="*/ 553724 w 1104657"/>
                <a:gd name="connsiteY13" fmla="*/ 26795 h 1257024"/>
                <a:gd name="connsiteX14" fmla="*/ 537852 w 1104657"/>
                <a:gd name="connsiteY14" fmla="*/ 26795 h 1257024"/>
                <a:gd name="connsiteX15" fmla="*/ 470938 w 1104657"/>
                <a:gd name="connsiteY15" fmla="*/ 132944 h 1257024"/>
                <a:gd name="connsiteX16" fmla="*/ 415832 w 1104657"/>
                <a:gd name="connsiteY16" fmla="*/ 163417 h 1257024"/>
                <a:gd name="connsiteX17" fmla="*/ 48248 w 1104657"/>
                <a:gd name="connsiteY17" fmla="*/ 163417 h 1257024"/>
                <a:gd name="connsiteX18" fmla="*/ 12695 w 1104657"/>
                <a:gd name="connsiteY18" fmla="*/ 197433 h 1257024"/>
                <a:gd name="connsiteX19" fmla="*/ 12695 w 1104657"/>
                <a:gd name="connsiteY19" fmla="*/ 198969 h 1257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04657" h="1257024">
                  <a:moveTo>
                    <a:pt x="12695" y="198969"/>
                  </a:moveTo>
                  <a:lnTo>
                    <a:pt x="12695" y="1174623"/>
                  </a:lnTo>
                  <a:cubicBezTo>
                    <a:pt x="12695" y="1174623"/>
                    <a:pt x="12695" y="1210556"/>
                    <a:pt x="30471" y="1228333"/>
                  </a:cubicBezTo>
                  <a:cubicBezTo>
                    <a:pt x="30471" y="1228333"/>
                    <a:pt x="12695" y="1246109"/>
                    <a:pt x="48248" y="1246109"/>
                  </a:cubicBezTo>
                  <a:lnTo>
                    <a:pt x="1023775" y="1246109"/>
                  </a:lnTo>
                  <a:cubicBezTo>
                    <a:pt x="1023775" y="1246109"/>
                    <a:pt x="1059835" y="1246109"/>
                    <a:pt x="1077484" y="1228333"/>
                  </a:cubicBezTo>
                  <a:cubicBezTo>
                    <a:pt x="1077484" y="1228333"/>
                    <a:pt x="1095260" y="1246109"/>
                    <a:pt x="1095260" y="1210556"/>
                  </a:cubicBezTo>
                  <a:lnTo>
                    <a:pt x="1095260" y="235410"/>
                  </a:lnTo>
                  <a:cubicBezTo>
                    <a:pt x="1095260" y="235410"/>
                    <a:pt x="1095260" y="199350"/>
                    <a:pt x="1077484" y="181574"/>
                  </a:cubicBezTo>
                  <a:cubicBezTo>
                    <a:pt x="1077484" y="181574"/>
                    <a:pt x="1095260" y="163925"/>
                    <a:pt x="1059835" y="163925"/>
                  </a:cubicBezTo>
                  <a:lnTo>
                    <a:pt x="691616" y="163925"/>
                  </a:lnTo>
                  <a:cubicBezTo>
                    <a:pt x="669404" y="163137"/>
                    <a:pt x="648896" y="151824"/>
                    <a:pt x="636383" y="133451"/>
                  </a:cubicBezTo>
                  <a:lnTo>
                    <a:pt x="588768" y="57268"/>
                  </a:lnTo>
                  <a:cubicBezTo>
                    <a:pt x="588768" y="57268"/>
                    <a:pt x="569595" y="26795"/>
                    <a:pt x="553724" y="26795"/>
                  </a:cubicBezTo>
                  <a:cubicBezTo>
                    <a:pt x="553724" y="26795"/>
                    <a:pt x="553724" y="-4948"/>
                    <a:pt x="537852" y="26795"/>
                  </a:cubicBezTo>
                  <a:lnTo>
                    <a:pt x="470938" y="132944"/>
                  </a:lnTo>
                  <a:cubicBezTo>
                    <a:pt x="458479" y="151304"/>
                    <a:pt x="438009" y="162630"/>
                    <a:pt x="415832" y="163417"/>
                  </a:cubicBezTo>
                  <a:lnTo>
                    <a:pt x="48248" y="163417"/>
                  </a:lnTo>
                  <a:cubicBezTo>
                    <a:pt x="29038" y="162985"/>
                    <a:pt x="13121" y="178222"/>
                    <a:pt x="12695" y="197433"/>
                  </a:cubicBezTo>
                  <a:cubicBezTo>
                    <a:pt x="12684" y="197941"/>
                    <a:pt x="12684" y="198461"/>
                    <a:pt x="12695" y="198969"/>
                  </a:cubicBezTo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288000" rIns="108000" bIns="108000" rtlCol="0" anchor="t"/>
            <a:lstStyle/>
            <a:p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indent="-160851">
                <a:buFont typeface="Arial" panose="020B0604020202020204" pitchFamily="34" charset="0"/>
                <a:buChar char="•"/>
              </a:pPr>
              <a:r>
                <a:rPr lang="nb-NO" sz="1600"/>
                <a:t>Punkt 1</a:t>
              </a:r>
            </a:p>
            <a:p>
              <a:pPr marL="160851" indent="-160851">
                <a:buFont typeface="Arial" panose="020B0604020202020204" pitchFamily="34" charset="0"/>
                <a:buChar char="•"/>
              </a:pPr>
              <a:r>
                <a:rPr lang="nb-NO" sz="1600"/>
                <a:t>Punkt 2</a:t>
              </a:r>
            </a:p>
          </p:txBody>
        </p:sp>
        <p:sp>
          <p:nvSpPr>
            <p:cNvPr id="105" name="Frihåndsform: figur 104">
              <a:extLst>
                <a:ext uri="{FF2B5EF4-FFF2-40B4-BE49-F238E27FC236}">
                  <a16:creationId xmlns:a16="http://schemas.microsoft.com/office/drawing/2014/main" id="{24378838-4283-43FA-A2FA-A81EA63D8E5D}"/>
                </a:ext>
              </a:extLst>
            </p:cNvPr>
            <p:cNvSpPr/>
            <p:nvPr/>
          </p:nvSpPr>
          <p:spPr>
            <a:xfrm>
              <a:off x="7858527" y="1964778"/>
              <a:ext cx="266642" cy="241247"/>
            </a:xfrm>
            <a:custGeom>
              <a:avLst/>
              <a:gdLst>
                <a:gd name="connsiteX0" fmla="*/ 118994 w 266641"/>
                <a:gd name="connsiteY0" fmla="*/ 217239 h 241247"/>
                <a:gd name="connsiteX1" fmla="*/ 155181 w 266641"/>
                <a:gd name="connsiteY1" fmla="*/ 217239 h 241247"/>
                <a:gd name="connsiteX2" fmla="*/ 256759 w 266641"/>
                <a:gd name="connsiteY2" fmla="*/ 43795 h 241247"/>
                <a:gd name="connsiteX3" fmla="*/ 238856 w 266641"/>
                <a:gd name="connsiteY3" fmla="*/ 12687 h 241247"/>
                <a:gd name="connsiteX4" fmla="*/ 35701 w 266641"/>
                <a:gd name="connsiteY4" fmla="*/ 12687 h 241247"/>
                <a:gd name="connsiteX5" fmla="*/ 17797 w 266641"/>
                <a:gd name="connsiteY5" fmla="*/ 43795 h 241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641" h="241247">
                  <a:moveTo>
                    <a:pt x="118994" y="217239"/>
                  </a:moveTo>
                  <a:cubicBezTo>
                    <a:pt x="118994" y="217239"/>
                    <a:pt x="137024" y="248347"/>
                    <a:pt x="155181" y="217239"/>
                  </a:cubicBezTo>
                  <a:lnTo>
                    <a:pt x="256759" y="43795"/>
                  </a:lnTo>
                  <a:cubicBezTo>
                    <a:pt x="256759" y="43795"/>
                    <a:pt x="274789" y="12687"/>
                    <a:pt x="238856" y="12687"/>
                  </a:cubicBezTo>
                  <a:lnTo>
                    <a:pt x="35701" y="12687"/>
                  </a:lnTo>
                  <a:cubicBezTo>
                    <a:pt x="35701" y="12687"/>
                    <a:pt x="-360" y="12687"/>
                    <a:pt x="17797" y="43795"/>
                  </a:cubicBezTo>
                  <a:close/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06" name="Frihåndsform: figur 105">
              <a:extLst>
                <a:ext uri="{FF2B5EF4-FFF2-40B4-BE49-F238E27FC236}">
                  <a16:creationId xmlns:a16="http://schemas.microsoft.com/office/drawing/2014/main" id="{46241905-144F-410B-A8FE-A28ECD0FEE34}"/>
                </a:ext>
              </a:extLst>
            </p:cNvPr>
            <p:cNvSpPr/>
            <p:nvPr/>
          </p:nvSpPr>
          <p:spPr>
            <a:xfrm>
              <a:off x="6633775" y="1048792"/>
              <a:ext cx="1815702" cy="977686"/>
            </a:xfrm>
            <a:custGeom>
              <a:avLst/>
              <a:gdLst>
                <a:gd name="connsiteX0" fmla="*/ 48629 w 1815702"/>
                <a:gd name="connsiteY0" fmla="*/ 12696 h 977685"/>
                <a:gd name="connsiteX1" fmla="*/ 12696 w 1815702"/>
                <a:gd name="connsiteY1" fmla="*/ 47085 h 977685"/>
                <a:gd name="connsiteX2" fmla="*/ 12696 w 1815702"/>
                <a:gd name="connsiteY2" fmla="*/ 48756 h 977685"/>
                <a:gd name="connsiteX3" fmla="*/ 12696 w 1815702"/>
                <a:gd name="connsiteY3" fmla="*/ 940608 h 977685"/>
                <a:gd name="connsiteX4" fmla="*/ 47093 w 1815702"/>
                <a:gd name="connsiteY4" fmla="*/ 976541 h 977685"/>
                <a:gd name="connsiteX5" fmla="*/ 48629 w 1815702"/>
                <a:gd name="connsiteY5" fmla="*/ 976541 h 977685"/>
                <a:gd name="connsiteX6" fmla="*/ 1776594 w 1815702"/>
                <a:gd name="connsiteY6" fmla="*/ 976541 h 977685"/>
                <a:gd name="connsiteX7" fmla="*/ 1812527 w 1815702"/>
                <a:gd name="connsiteY7" fmla="*/ 942148 h 977685"/>
                <a:gd name="connsiteX8" fmla="*/ 1812527 w 1815702"/>
                <a:gd name="connsiteY8" fmla="*/ 940608 h 977685"/>
                <a:gd name="connsiteX9" fmla="*/ 1812527 w 1815702"/>
                <a:gd name="connsiteY9" fmla="*/ 48756 h 977685"/>
                <a:gd name="connsiteX10" fmla="*/ 1778003 w 1815702"/>
                <a:gd name="connsiteY10" fmla="*/ 12698 h 977685"/>
                <a:gd name="connsiteX11" fmla="*/ 1776594 w 1815702"/>
                <a:gd name="connsiteY11" fmla="*/ 12696 h 977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15702" h="977685">
                  <a:moveTo>
                    <a:pt x="48629" y="12696"/>
                  </a:moveTo>
                  <a:cubicBezTo>
                    <a:pt x="29215" y="12268"/>
                    <a:pt x="13115" y="27665"/>
                    <a:pt x="12696" y="47085"/>
                  </a:cubicBezTo>
                  <a:cubicBezTo>
                    <a:pt x="12684" y="47642"/>
                    <a:pt x="12684" y="48199"/>
                    <a:pt x="12696" y="48756"/>
                  </a:cubicBezTo>
                  <a:lnTo>
                    <a:pt x="12696" y="940608"/>
                  </a:lnTo>
                  <a:cubicBezTo>
                    <a:pt x="12265" y="960029"/>
                    <a:pt x="27666" y="976116"/>
                    <a:pt x="47093" y="976541"/>
                  </a:cubicBezTo>
                  <a:cubicBezTo>
                    <a:pt x="47601" y="976553"/>
                    <a:pt x="48122" y="976553"/>
                    <a:pt x="48629" y="976541"/>
                  </a:cubicBezTo>
                  <a:lnTo>
                    <a:pt x="1776594" y="976541"/>
                  </a:lnTo>
                  <a:cubicBezTo>
                    <a:pt x="1796008" y="976967"/>
                    <a:pt x="1812095" y="961569"/>
                    <a:pt x="1812527" y="942148"/>
                  </a:cubicBezTo>
                  <a:cubicBezTo>
                    <a:pt x="1812539" y="941635"/>
                    <a:pt x="1812539" y="941121"/>
                    <a:pt x="1812527" y="940608"/>
                  </a:cubicBezTo>
                  <a:lnTo>
                    <a:pt x="1812527" y="48756"/>
                  </a:lnTo>
                  <a:cubicBezTo>
                    <a:pt x="1812946" y="29265"/>
                    <a:pt x="1797493" y="13122"/>
                    <a:pt x="1778003" y="12698"/>
                  </a:cubicBezTo>
                  <a:cubicBezTo>
                    <a:pt x="1777534" y="12688"/>
                    <a:pt x="1777063" y="12687"/>
                    <a:pt x="1776594" y="12696"/>
                  </a:cubicBezTo>
                  <a:close/>
                </a:path>
              </a:pathLst>
            </a:custGeom>
            <a:solidFill>
              <a:srgbClr val="E6E7E8"/>
            </a:solidFill>
            <a:ln w="12690" cap="flat">
              <a:noFill/>
              <a:prstDash val="solid"/>
              <a:miter/>
            </a:ln>
          </p:spPr>
          <p:txBody>
            <a:bodyPr lIns="108000" tIns="108000" rIns="108000" bIns="108000" rtlCol="0" anchor="t"/>
            <a:lstStyle/>
            <a:p>
              <a:pPr lvl="0"/>
              <a:r>
                <a:rPr lang="nb-NO" sz="2133">
                  <a:solidFill>
                    <a:srgbClr val="6E7179"/>
                  </a:solidFill>
                </a:rPr>
                <a:t>Tittel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1</a:t>
              </a:r>
            </a:p>
            <a:p>
              <a:pPr marL="160851" lvl="0" indent="-160851">
                <a:buFont typeface="Arial" panose="020B0604020202020204" pitchFamily="34" charset="0"/>
                <a:buChar char="•"/>
              </a:pPr>
              <a:r>
                <a:rPr lang="nb-NO" sz="1600">
                  <a:solidFill>
                    <a:prstClr val="black"/>
                  </a:solidFill>
                </a:rPr>
                <a:t>Punkt 2</a:t>
              </a:r>
            </a:p>
          </p:txBody>
        </p:sp>
      </p:grpSp>
      <p:grpSp>
        <p:nvGrpSpPr>
          <p:cNvPr id="107" name="i34" hidden="1">
            <a:extLst>
              <a:ext uri="{FF2B5EF4-FFF2-40B4-BE49-F238E27FC236}">
                <a16:creationId xmlns:a16="http://schemas.microsoft.com/office/drawing/2014/main" id="{C0790895-FED8-495E-9FC3-B22DDB555CC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43717" y="2114398"/>
            <a:ext cx="7766979" cy="4918027"/>
            <a:chOff x="852791" y="591439"/>
            <a:chExt cx="4369352" cy="2766390"/>
          </a:xfrm>
        </p:grpSpPr>
        <p:sp>
          <p:nvSpPr>
            <p:cNvPr id="108" name="Frihåndsform: figur 107">
              <a:extLst>
                <a:ext uri="{FF2B5EF4-FFF2-40B4-BE49-F238E27FC236}">
                  <a16:creationId xmlns:a16="http://schemas.microsoft.com/office/drawing/2014/main" id="{A193A0D1-2EC1-4B35-BA16-868C59D55BA6}"/>
                </a:ext>
              </a:extLst>
            </p:cNvPr>
            <p:cNvSpPr/>
            <p:nvPr/>
          </p:nvSpPr>
          <p:spPr>
            <a:xfrm>
              <a:off x="852791" y="2418865"/>
              <a:ext cx="938963" cy="938964"/>
            </a:xfrm>
            <a:custGeom>
              <a:avLst/>
              <a:gdLst>
                <a:gd name="connsiteX0" fmla="*/ 69883 w 938963"/>
                <a:gd name="connsiteY0" fmla="*/ 16844 h 938963"/>
                <a:gd name="connsiteX1" fmla="*/ 16844 w 938963"/>
                <a:gd name="connsiteY1" fmla="*/ 69756 h 938963"/>
                <a:gd name="connsiteX2" fmla="*/ 16844 w 938963"/>
                <a:gd name="connsiteY2" fmla="*/ 877011 h 938963"/>
                <a:gd name="connsiteX3" fmla="*/ 69883 w 938963"/>
                <a:gd name="connsiteY3" fmla="*/ 930050 h 938963"/>
                <a:gd name="connsiteX4" fmla="*/ 877138 w 938963"/>
                <a:gd name="connsiteY4" fmla="*/ 930050 h 938963"/>
                <a:gd name="connsiteX5" fmla="*/ 930177 w 938963"/>
                <a:gd name="connsiteY5" fmla="*/ 877011 h 938963"/>
                <a:gd name="connsiteX6" fmla="*/ 930177 w 938963"/>
                <a:gd name="connsiteY6" fmla="*/ 69756 h 938963"/>
                <a:gd name="connsiteX7" fmla="*/ 877138 w 938963"/>
                <a:gd name="connsiteY7" fmla="*/ 16844 h 93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8963" h="938963">
                  <a:moveTo>
                    <a:pt x="69883" y="16844"/>
                  </a:moveTo>
                  <a:cubicBezTo>
                    <a:pt x="69883" y="16844"/>
                    <a:pt x="16844" y="16844"/>
                    <a:pt x="16844" y="69756"/>
                  </a:cubicBezTo>
                  <a:lnTo>
                    <a:pt x="16844" y="877011"/>
                  </a:lnTo>
                  <a:cubicBezTo>
                    <a:pt x="16844" y="877011"/>
                    <a:pt x="16844" y="930050"/>
                    <a:pt x="69883" y="930050"/>
                  </a:cubicBezTo>
                  <a:lnTo>
                    <a:pt x="877138" y="930050"/>
                  </a:lnTo>
                  <a:cubicBezTo>
                    <a:pt x="877138" y="930050"/>
                    <a:pt x="930177" y="930050"/>
                    <a:pt x="930177" y="877011"/>
                  </a:cubicBezTo>
                  <a:lnTo>
                    <a:pt x="930177" y="69756"/>
                  </a:lnTo>
                  <a:cubicBezTo>
                    <a:pt x="930177" y="69756"/>
                    <a:pt x="930177" y="16844"/>
                    <a:pt x="877138" y="16844"/>
                  </a:cubicBezTo>
                  <a:close/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5866">
                  <a:solidFill>
                    <a:srgbClr val="F5A800"/>
                  </a:solidFill>
                </a:rPr>
                <a:t>A</a:t>
              </a:r>
            </a:p>
          </p:txBody>
        </p:sp>
        <p:sp>
          <p:nvSpPr>
            <p:cNvPr id="109" name="Frihåndsform: figur 108">
              <a:extLst>
                <a:ext uri="{FF2B5EF4-FFF2-40B4-BE49-F238E27FC236}">
                  <a16:creationId xmlns:a16="http://schemas.microsoft.com/office/drawing/2014/main" id="{AD016986-DBD8-46F8-9163-439CA9F09FBD}"/>
                </a:ext>
              </a:extLst>
            </p:cNvPr>
            <p:cNvSpPr/>
            <p:nvPr/>
          </p:nvSpPr>
          <p:spPr>
            <a:xfrm>
              <a:off x="2516533" y="2418484"/>
              <a:ext cx="938963" cy="938964"/>
            </a:xfrm>
            <a:custGeom>
              <a:avLst/>
              <a:gdLst>
                <a:gd name="connsiteX0" fmla="*/ 473637 w 938963"/>
                <a:gd name="connsiteY0" fmla="*/ 930430 h 938963"/>
                <a:gd name="connsiteX1" fmla="*/ 930430 w 938963"/>
                <a:gd name="connsiteY1" fmla="*/ 473637 h 938963"/>
                <a:gd name="connsiteX2" fmla="*/ 473637 w 938963"/>
                <a:gd name="connsiteY2" fmla="*/ 16844 h 938963"/>
                <a:gd name="connsiteX3" fmla="*/ 16844 w 938963"/>
                <a:gd name="connsiteY3" fmla="*/ 473637 h 938963"/>
                <a:gd name="connsiteX4" fmla="*/ 473637 w 938963"/>
                <a:gd name="connsiteY4" fmla="*/ 930430 h 93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8963" h="938963">
                  <a:moveTo>
                    <a:pt x="473637" y="930430"/>
                  </a:moveTo>
                  <a:cubicBezTo>
                    <a:pt x="725914" y="930430"/>
                    <a:pt x="930430" y="725914"/>
                    <a:pt x="930430" y="473637"/>
                  </a:cubicBezTo>
                  <a:cubicBezTo>
                    <a:pt x="930430" y="221361"/>
                    <a:pt x="725914" y="16844"/>
                    <a:pt x="473637" y="16844"/>
                  </a:cubicBezTo>
                  <a:cubicBezTo>
                    <a:pt x="221361" y="16844"/>
                    <a:pt x="16844" y="221361"/>
                    <a:pt x="16844" y="473637"/>
                  </a:cubicBezTo>
                  <a:cubicBezTo>
                    <a:pt x="16844" y="725914"/>
                    <a:pt x="221361" y="930430"/>
                    <a:pt x="473637" y="930430"/>
                  </a:cubicBezTo>
                  <a:close/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5866">
                  <a:solidFill>
                    <a:srgbClr val="F5A800"/>
                  </a:solidFill>
                </a:rPr>
                <a:t>B</a:t>
              </a:r>
            </a:p>
          </p:txBody>
        </p:sp>
        <p:sp>
          <p:nvSpPr>
            <p:cNvPr id="110" name="Frihåndsform: figur 109">
              <a:extLst>
                <a:ext uri="{FF2B5EF4-FFF2-40B4-BE49-F238E27FC236}">
                  <a16:creationId xmlns:a16="http://schemas.microsoft.com/office/drawing/2014/main" id="{C03795B4-15CD-4CF6-A759-3D0C8A851EEC}"/>
                </a:ext>
              </a:extLst>
            </p:cNvPr>
            <p:cNvSpPr/>
            <p:nvPr/>
          </p:nvSpPr>
          <p:spPr>
            <a:xfrm>
              <a:off x="4054783" y="2414931"/>
              <a:ext cx="1167360" cy="938964"/>
            </a:xfrm>
            <a:custGeom>
              <a:avLst/>
              <a:gdLst>
                <a:gd name="connsiteX0" fmla="*/ 589866 w 1167360"/>
                <a:gd name="connsiteY0" fmla="*/ 16844 h 938963"/>
                <a:gd name="connsiteX1" fmla="*/ 16844 w 1167360"/>
                <a:gd name="connsiteY1" fmla="*/ 933983 h 938963"/>
                <a:gd name="connsiteX2" fmla="*/ 1163014 w 1167360"/>
                <a:gd name="connsiteY2" fmla="*/ 933983 h 938963"/>
                <a:gd name="connsiteX3" fmla="*/ 589866 w 1167360"/>
                <a:gd name="connsiteY3" fmla="*/ 16844 h 938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7360" h="938963">
                  <a:moveTo>
                    <a:pt x="589866" y="16844"/>
                  </a:moveTo>
                  <a:lnTo>
                    <a:pt x="16844" y="933983"/>
                  </a:lnTo>
                  <a:lnTo>
                    <a:pt x="1163014" y="933983"/>
                  </a:lnTo>
                  <a:lnTo>
                    <a:pt x="589866" y="16844"/>
                  </a:lnTo>
                  <a:close/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tIns="288000" rtlCol="0" anchor="ctr"/>
            <a:lstStyle/>
            <a:p>
              <a:pPr algn="ctr"/>
              <a:r>
                <a:rPr lang="nb-NO" sz="5866">
                  <a:solidFill>
                    <a:srgbClr val="F5A800"/>
                  </a:solidFill>
                </a:rPr>
                <a:t>c</a:t>
              </a:r>
            </a:p>
          </p:txBody>
        </p:sp>
        <p:sp>
          <p:nvSpPr>
            <p:cNvPr id="111" name="Frihåndsform: figur 110">
              <a:extLst>
                <a:ext uri="{FF2B5EF4-FFF2-40B4-BE49-F238E27FC236}">
                  <a16:creationId xmlns:a16="http://schemas.microsoft.com/office/drawing/2014/main" id="{8D966FD3-F46F-408E-B94C-306486A4E4D3}"/>
                </a:ext>
              </a:extLst>
            </p:cNvPr>
            <p:cNvSpPr/>
            <p:nvPr/>
          </p:nvSpPr>
          <p:spPr>
            <a:xfrm>
              <a:off x="1981577" y="591439"/>
              <a:ext cx="2004814" cy="1078539"/>
            </a:xfrm>
            <a:custGeom>
              <a:avLst/>
              <a:gdLst>
                <a:gd name="connsiteX0" fmla="*/ 80288 w 2004813"/>
                <a:gd name="connsiteY0" fmla="*/ 16844 h 1078539"/>
                <a:gd name="connsiteX1" fmla="*/ 16844 w 2004813"/>
                <a:gd name="connsiteY1" fmla="*/ 80288 h 1078539"/>
                <a:gd name="connsiteX2" fmla="*/ 16844 w 2004813"/>
                <a:gd name="connsiteY2" fmla="*/ 1008720 h 1078539"/>
                <a:gd name="connsiteX3" fmla="*/ 80288 w 2004813"/>
                <a:gd name="connsiteY3" fmla="*/ 1072163 h 1078539"/>
                <a:gd name="connsiteX4" fmla="*/ 1936644 w 2004813"/>
                <a:gd name="connsiteY4" fmla="*/ 1072163 h 1078539"/>
                <a:gd name="connsiteX5" fmla="*/ 2000087 w 2004813"/>
                <a:gd name="connsiteY5" fmla="*/ 1008720 h 1078539"/>
                <a:gd name="connsiteX6" fmla="*/ 2000087 w 2004813"/>
                <a:gd name="connsiteY6" fmla="*/ 80415 h 1078539"/>
                <a:gd name="connsiteX7" fmla="*/ 1936644 w 2004813"/>
                <a:gd name="connsiteY7" fmla="*/ 16971 h 107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4813" h="1078539">
                  <a:moveTo>
                    <a:pt x="80288" y="16844"/>
                  </a:moveTo>
                  <a:cubicBezTo>
                    <a:pt x="80288" y="16844"/>
                    <a:pt x="16844" y="16844"/>
                    <a:pt x="16844" y="80288"/>
                  </a:cubicBezTo>
                  <a:lnTo>
                    <a:pt x="16844" y="1008720"/>
                  </a:lnTo>
                  <a:cubicBezTo>
                    <a:pt x="16844" y="1008720"/>
                    <a:pt x="16844" y="1072163"/>
                    <a:pt x="80288" y="1072163"/>
                  </a:cubicBezTo>
                  <a:lnTo>
                    <a:pt x="1936644" y="1072163"/>
                  </a:lnTo>
                  <a:cubicBezTo>
                    <a:pt x="1936644" y="1072163"/>
                    <a:pt x="2000087" y="1072163"/>
                    <a:pt x="2000087" y="1008720"/>
                  </a:cubicBezTo>
                  <a:lnTo>
                    <a:pt x="2000087" y="80415"/>
                  </a:lnTo>
                  <a:cubicBezTo>
                    <a:pt x="2000087" y="80415"/>
                    <a:pt x="2000087" y="16971"/>
                    <a:pt x="1936644" y="16971"/>
                  </a:cubicBezTo>
                  <a:close/>
                </a:path>
              </a:pathLst>
            </a:custGeom>
            <a:noFill/>
            <a:ln w="16859" cap="flat">
              <a:solidFill>
                <a:srgbClr val="F5A800"/>
              </a:solidFill>
              <a:prstDash val="solid"/>
              <a:miter/>
            </a:ln>
          </p:spPr>
          <p:txBody>
            <a:bodyPr rtlCol="0" anchor="t"/>
            <a:lstStyle/>
            <a:p>
              <a:pPr algn="ctr"/>
              <a:endParaRPr lang="nb-NO" sz="5866">
                <a:solidFill>
                  <a:srgbClr val="D3D5DA"/>
                </a:solidFill>
              </a:endParaRPr>
            </a:p>
          </p:txBody>
        </p:sp>
        <p:sp>
          <p:nvSpPr>
            <p:cNvPr id="112" name="Frihåndsform: figur 111">
              <a:extLst>
                <a:ext uri="{FF2B5EF4-FFF2-40B4-BE49-F238E27FC236}">
                  <a16:creationId xmlns:a16="http://schemas.microsoft.com/office/drawing/2014/main" id="{6A7FE938-ED0A-487F-879B-C69258083B21}"/>
                </a:ext>
              </a:extLst>
            </p:cNvPr>
            <p:cNvSpPr/>
            <p:nvPr/>
          </p:nvSpPr>
          <p:spPr>
            <a:xfrm>
              <a:off x="2973199" y="1220291"/>
              <a:ext cx="25377" cy="1078539"/>
            </a:xfrm>
            <a:custGeom>
              <a:avLst/>
              <a:gdLst>
                <a:gd name="connsiteX0" fmla="*/ 16844 w 25377"/>
                <a:gd name="connsiteY0" fmla="*/ 16844 h 1078539"/>
                <a:gd name="connsiteX1" fmla="*/ 16844 w 25377"/>
                <a:gd name="connsiteY1" fmla="*/ 1061758 h 1078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77" h="1078539">
                  <a:moveTo>
                    <a:pt x="16844" y="16844"/>
                  </a:moveTo>
                  <a:lnTo>
                    <a:pt x="16844" y="1061758"/>
                  </a:lnTo>
                </a:path>
              </a:pathLst>
            </a:custGeom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3" name="Frihåndsform: figur 112">
              <a:extLst>
                <a:ext uri="{FF2B5EF4-FFF2-40B4-BE49-F238E27FC236}">
                  <a16:creationId xmlns:a16="http://schemas.microsoft.com/office/drawing/2014/main" id="{41417207-8770-4A2D-8D89-84469F87C937}"/>
                </a:ext>
              </a:extLst>
            </p:cNvPr>
            <p:cNvSpPr/>
            <p:nvPr/>
          </p:nvSpPr>
          <p:spPr>
            <a:xfrm>
              <a:off x="2916226" y="1220291"/>
              <a:ext cx="139576" cy="88821"/>
            </a:xfrm>
            <a:custGeom>
              <a:avLst/>
              <a:gdLst>
                <a:gd name="connsiteX0" fmla="*/ 16844 w 139575"/>
                <a:gd name="connsiteY0" fmla="*/ 78131 h 88820"/>
                <a:gd name="connsiteX1" fmla="*/ 73817 w 139575"/>
                <a:gd name="connsiteY1" fmla="*/ 16844 h 88820"/>
                <a:gd name="connsiteX2" fmla="*/ 130789 w 139575"/>
                <a:gd name="connsiteY2" fmla="*/ 78131 h 8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575" h="88820">
                  <a:moveTo>
                    <a:pt x="16844" y="78131"/>
                  </a:moveTo>
                  <a:lnTo>
                    <a:pt x="73817" y="16844"/>
                  </a:lnTo>
                  <a:lnTo>
                    <a:pt x="130789" y="78131"/>
                  </a:lnTo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4" name="Frihåndsform: figur 113">
              <a:extLst>
                <a:ext uri="{FF2B5EF4-FFF2-40B4-BE49-F238E27FC236}">
                  <a16:creationId xmlns:a16="http://schemas.microsoft.com/office/drawing/2014/main" id="{E066E0C6-E652-4AF1-9000-9D2669BFE838}"/>
                </a:ext>
              </a:extLst>
            </p:cNvPr>
            <p:cNvSpPr/>
            <p:nvPr/>
          </p:nvSpPr>
          <p:spPr>
            <a:xfrm>
              <a:off x="2916226" y="2203918"/>
              <a:ext cx="139576" cy="88821"/>
            </a:xfrm>
            <a:custGeom>
              <a:avLst/>
              <a:gdLst>
                <a:gd name="connsiteX0" fmla="*/ 130789 w 139575"/>
                <a:gd name="connsiteY0" fmla="*/ 16844 h 88820"/>
                <a:gd name="connsiteX1" fmla="*/ 73817 w 139575"/>
                <a:gd name="connsiteY1" fmla="*/ 78131 h 88820"/>
                <a:gd name="connsiteX2" fmla="*/ 16844 w 139575"/>
                <a:gd name="connsiteY2" fmla="*/ 16844 h 8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575" h="88820">
                  <a:moveTo>
                    <a:pt x="130789" y="16844"/>
                  </a:moveTo>
                  <a:lnTo>
                    <a:pt x="73817" y="78131"/>
                  </a:lnTo>
                  <a:lnTo>
                    <a:pt x="16844" y="16844"/>
                  </a:lnTo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5" name="Frihåndsform: figur 114">
              <a:extLst>
                <a:ext uri="{FF2B5EF4-FFF2-40B4-BE49-F238E27FC236}">
                  <a16:creationId xmlns:a16="http://schemas.microsoft.com/office/drawing/2014/main" id="{7117AC2F-C555-4E1F-8D8C-D4A508878DA1}"/>
                </a:ext>
              </a:extLst>
            </p:cNvPr>
            <p:cNvSpPr/>
            <p:nvPr/>
          </p:nvSpPr>
          <p:spPr>
            <a:xfrm>
              <a:off x="1299306" y="1983262"/>
              <a:ext cx="25377" cy="304529"/>
            </a:xfrm>
            <a:custGeom>
              <a:avLst/>
              <a:gdLst>
                <a:gd name="connsiteX0" fmla="*/ 16844 w 25377"/>
                <a:gd name="connsiteY0" fmla="*/ 16844 h 304528"/>
                <a:gd name="connsiteX1" fmla="*/ 16844 w 25377"/>
                <a:gd name="connsiteY1" fmla="*/ 298787 h 30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77" h="304528">
                  <a:moveTo>
                    <a:pt x="16844" y="16844"/>
                  </a:moveTo>
                  <a:lnTo>
                    <a:pt x="16844" y="298787"/>
                  </a:lnTo>
                </a:path>
              </a:pathLst>
            </a:custGeom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6" name="Frihåndsform: figur 115">
              <a:extLst>
                <a:ext uri="{FF2B5EF4-FFF2-40B4-BE49-F238E27FC236}">
                  <a16:creationId xmlns:a16="http://schemas.microsoft.com/office/drawing/2014/main" id="{856E039A-7127-40C9-9C97-9AC2E0CA6C27}"/>
                </a:ext>
              </a:extLst>
            </p:cNvPr>
            <p:cNvSpPr/>
            <p:nvPr/>
          </p:nvSpPr>
          <p:spPr>
            <a:xfrm>
              <a:off x="1242334" y="2203918"/>
              <a:ext cx="139576" cy="88821"/>
            </a:xfrm>
            <a:custGeom>
              <a:avLst/>
              <a:gdLst>
                <a:gd name="connsiteX0" fmla="*/ 130789 w 139575"/>
                <a:gd name="connsiteY0" fmla="*/ 16844 h 88820"/>
                <a:gd name="connsiteX1" fmla="*/ 73816 w 139575"/>
                <a:gd name="connsiteY1" fmla="*/ 78131 h 88820"/>
                <a:gd name="connsiteX2" fmla="*/ 16844 w 139575"/>
                <a:gd name="connsiteY2" fmla="*/ 16844 h 8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575" h="88820">
                  <a:moveTo>
                    <a:pt x="130789" y="16844"/>
                  </a:moveTo>
                  <a:lnTo>
                    <a:pt x="73816" y="78131"/>
                  </a:lnTo>
                  <a:lnTo>
                    <a:pt x="16844" y="16844"/>
                  </a:lnTo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7" name="Frihåndsform: figur 116">
              <a:extLst>
                <a:ext uri="{FF2B5EF4-FFF2-40B4-BE49-F238E27FC236}">
                  <a16:creationId xmlns:a16="http://schemas.microsoft.com/office/drawing/2014/main" id="{CFDC7688-4F82-4572-BD50-22437B1F489E}"/>
                </a:ext>
              </a:extLst>
            </p:cNvPr>
            <p:cNvSpPr/>
            <p:nvPr/>
          </p:nvSpPr>
          <p:spPr>
            <a:xfrm>
              <a:off x="4634783" y="1983262"/>
              <a:ext cx="25377" cy="304529"/>
            </a:xfrm>
            <a:custGeom>
              <a:avLst/>
              <a:gdLst>
                <a:gd name="connsiteX0" fmla="*/ 16844 w 25377"/>
                <a:gd name="connsiteY0" fmla="*/ 16844 h 304528"/>
                <a:gd name="connsiteX1" fmla="*/ 16844 w 25377"/>
                <a:gd name="connsiteY1" fmla="*/ 298787 h 30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377" h="304528">
                  <a:moveTo>
                    <a:pt x="16844" y="16844"/>
                  </a:moveTo>
                  <a:lnTo>
                    <a:pt x="16844" y="298787"/>
                  </a:lnTo>
                </a:path>
              </a:pathLst>
            </a:custGeom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8" name="Frihåndsform: figur 117">
              <a:extLst>
                <a:ext uri="{FF2B5EF4-FFF2-40B4-BE49-F238E27FC236}">
                  <a16:creationId xmlns:a16="http://schemas.microsoft.com/office/drawing/2014/main" id="{1E1980EC-023B-4B4C-8B45-D9BAD2D985DD}"/>
                </a:ext>
              </a:extLst>
            </p:cNvPr>
            <p:cNvSpPr/>
            <p:nvPr/>
          </p:nvSpPr>
          <p:spPr>
            <a:xfrm>
              <a:off x="4577811" y="2203918"/>
              <a:ext cx="139576" cy="88821"/>
            </a:xfrm>
            <a:custGeom>
              <a:avLst/>
              <a:gdLst>
                <a:gd name="connsiteX0" fmla="*/ 130788 w 139575"/>
                <a:gd name="connsiteY0" fmla="*/ 16844 h 88820"/>
                <a:gd name="connsiteX1" fmla="*/ 73816 w 139575"/>
                <a:gd name="connsiteY1" fmla="*/ 78131 h 88820"/>
                <a:gd name="connsiteX2" fmla="*/ 16844 w 139575"/>
                <a:gd name="connsiteY2" fmla="*/ 16844 h 88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575" h="88820">
                  <a:moveTo>
                    <a:pt x="130788" y="16844"/>
                  </a:moveTo>
                  <a:lnTo>
                    <a:pt x="73816" y="78131"/>
                  </a:lnTo>
                  <a:lnTo>
                    <a:pt x="16844" y="16844"/>
                  </a:lnTo>
                </a:path>
              </a:pathLst>
            </a:custGeom>
            <a:noFill/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19" name="Frihåndsform: figur 118">
              <a:extLst>
                <a:ext uri="{FF2B5EF4-FFF2-40B4-BE49-F238E27FC236}">
                  <a16:creationId xmlns:a16="http://schemas.microsoft.com/office/drawing/2014/main" id="{90854254-8C9C-49AC-8548-281F08A27A3E}"/>
                </a:ext>
              </a:extLst>
            </p:cNvPr>
            <p:cNvSpPr/>
            <p:nvPr/>
          </p:nvSpPr>
          <p:spPr>
            <a:xfrm>
              <a:off x="1309457" y="1994555"/>
              <a:ext cx="3349816" cy="25377"/>
            </a:xfrm>
            <a:custGeom>
              <a:avLst/>
              <a:gdLst>
                <a:gd name="connsiteX0" fmla="*/ 16844 w 3349815"/>
                <a:gd name="connsiteY0" fmla="*/ 16844 h 25377"/>
                <a:gd name="connsiteX1" fmla="*/ 3344328 w 3349815"/>
                <a:gd name="connsiteY1" fmla="*/ 16844 h 25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49815" h="25377">
                  <a:moveTo>
                    <a:pt x="16844" y="16844"/>
                  </a:moveTo>
                  <a:lnTo>
                    <a:pt x="3344328" y="16844"/>
                  </a:lnTo>
                </a:path>
              </a:pathLst>
            </a:custGeom>
            <a:ln w="16859" cap="flat">
              <a:solidFill>
                <a:srgbClr val="6E7179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</p:grpSp>
      <p:grpSp>
        <p:nvGrpSpPr>
          <p:cNvPr id="120" name="i35" hidden="1">
            <a:extLst>
              <a:ext uri="{FF2B5EF4-FFF2-40B4-BE49-F238E27FC236}">
                <a16:creationId xmlns:a16="http://schemas.microsoft.com/office/drawing/2014/main" id="{54395D21-E372-4C2A-B758-AEF347F12FE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21186" y="2079642"/>
            <a:ext cx="7812041" cy="4987543"/>
            <a:chOff x="5278218" y="568179"/>
            <a:chExt cx="4394702" cy="2805493"/>
          </a:xfrm>
        </p:grpSpPr>
        <p:sp>
          <p:nvSpPr>
            <p:cNvPr id="121" name="Frihåndsform: figur 120">
              <a:extLst>
                <a:ext uri="{FF2B5EF4-FFF2-40B4-BE49-F238E27FC236}">
                  <a16:creationId xmlns:a16="http://schemas.microsoft.com/office/drawing/2014/main" id="{5661804E-6949-4C23-9A75-642BF972D037}"/>
                </a:ext>
              </a:extLst>
            </p:cNvPr>
            <p:cNvSpPr/>
            <p:nvPr/>
          </p:nvSpPr>
          <p:spPr>
            <a:xfrm>
              <a:off x="5278218" y="2429233"/>
              <a:ext cx="931676" cy="931676"/>
            </a:xfrm>
            <a:custGeom>
              <a:avLst/>
              <a:gdLst>
                <a:gd name="connsiteX0" fmla="*/ 66157 w 931675"/>
                <a:gd name="connsiteY0" fmla="*/ 13064 h 931675"/>
                <a:gd name="connsiteX1" fmla="*/ 12809 w 931675"/>
                <a:gd name="connsiteY1" fmla="*/ 66157 h 931675"/>
                <a:gd name="connsiteX2" fmla="*/ 12809 w 931675"/>
                <a:gd name="connsiteY2" fmla="*/ 878119 h 931675"/>
                <a:gd name="connsiteX3" fmla="*/ 66157 w 931675"/>
                <a:gd name="connsiteY3" fmla="*/ 931467 h 931675"/>
                <a:gd name="connsiteX4" fmla="*/ 878119 w 931675"/>
                <a:gd name="connsiteY4" fmla="*/ 931467 h 931675"/>
                <a:gd name="connsiteX5" fmla="*/ 931467 w 931675"/>
                <a:gd name="connsiteY5" fmla="*/ 878119 h 931675"/>
                <a:gd name="connsiteX6" fmla="*/ 931467 w 931675"/>
                <a:gd name="connsiteY6" fmla="*/ 66157 h 931675"/>
                <a:gd name="connsiteX7" fmla="*/ 878119 w 931675"/>
                <a:gd name="connsiteY7" fmla="*/ 12809 h 93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1675" h="931675">
                  <a:moveTo>
                    <a:pt x="66157" y="13064"/>
                  </a:moveTo>
                  <a:cubicBezTo>
                    <a:pt x="66157" y="13064"/>
                    <a:pt x="12809" y="13064"/>
                    <a:pt x="12809" y="66157"/>
                  </a:cubicBezTo>
                  <a:lnTo>
                    <a:pt x="12809" y="878119"/>
                  </a:lnTo>
                  <a:cubicBezTo>
                    <a:pt x="12809" y="878119"/>
                    <a:pt x="12809" y="931467"/>
                    <a:pt x="66157" y="931467"/>
                  </a:cubicBezTo>
                  <a:lnTo>
                    <a:pt x="878119" y="931467"/>
                  </a:lnTo>
                  <a:cubicBezTo>
                    <a:pt x="878119" y="931467"/>
                    <a:pt x="931467" y="931467"/>
                    <a:pt x="931467" y="878119"/>
                  </a:cubicBezTo>
                  <a:lnTo>
                    <a:pt x="931467" y="66157"/>
                  </a:lnTo>
                  <a:cubicBezTo>
                    <a:pt x="931467" y="66157"/>
                    <a:pt x="931467" y="12809"/>
                    <a:pt x="878119" y="12809"/>
                  </a:cubicBezTo>
                  <a:close/>
                </a:path>
              </a:pathLst>
            </a:custGeom>
            <a:solidFill>
              <a:srgbClr val="D3D5DA"/>
            </a:solidFill>
            <a:ln w="127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5866">
                  <a:solidFill>
                    <a:srgbClr val="F5A800"/>
                  </a:solidFill>
                </a:rPr>
                <a:t>A</a:t>
              </a:r>
            </a:p>
          </p:txBody>
        </p:sp>
        <p:sp>
          <p:nvSpPr>
            <p:cNvPr id="122" name="Frihåndsform: figur 121">
              <a:extLst>
                <a:ext uri="{FF2B5EF4-FFF2-40B4-BE49-F238E27FC236}">
                  <a16:creationId xmlns:a16="http://schemas.microsoft.com/office/drawing/2014/main" id="{E3C040D5-3BC7-43E1-82A6-94F769417BAB}"/>
                </a:ext>
              </a:extLst>
            </p:cNvPr>
            <p:cNvSpPr/>
            <p:nvPr/>
          </p:nvSpPr>
          <p:spPr>
            <a:xfrm>
              <a:off x="6951533" y="2429233"/>
              <a:ext cx="944438" cy="944439"/>
            </a:xfrm>
            <a:custGeom>
              <a:avLst/>
              <a:gdLst>
                <a:gd name="connsiteX0" fmla="*/ 472266 w 944438"/>
                <a:gd name="connsiteY0" fmla="*/ 931722 h 944438"/>
                <a:gd name="connsiteX1" fmla="*/ 931722 w 944438"/>
                <a:gd name="connsiteY1" fmla="*/ 472266 h 944438"/>
                <a:gd name="connsiteX2" fmla="*/ 472266 w 944438"/>
                <a:gd name="connsiteY2" fmla="*/ 12809 h 944438"/>
                <a:gd name="connsiteX3" fmla="*/ 12809 w 944438"/>
                <a:gd name="connsiteY3" fmla="*/ 472266 h 944438"/>
                <a:gd name="connsiteX4" fmla="*/ 472266 w 944438"/>
                <a:gd name="connsiteY4" fmla="*/ 931722 h 94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4438" h="944438">
                  <a:moveTo>
                    <a:pt x="472266" y="931722"/>
                  </a:moveTo>
                  <a:cubicBezTo>
                    <a:pt x="726013" y="931722"/>
                    <a:pt x="931722" y="726013"/>
                    <a:pt x="931722" y="472266"/>
                  </a:cubicBezTo>
                  <a:cubicBezTo>
                    <a:pt x="931722" y="218518"/>
                    <a:pt x="726013" y="12809"/>
                    <a:pt x="472266" y="12809"/>
                  </a:cubicBezTo>
                  <a:cubicBezTo>
                    <a:pt x="218518" y="12809"/>
                    <a:pt x="12809" y="218518"/>
                    <a:pt x="12809" y="472266"/>
                  </a:cubicBezTo>
                  <a:cubicBezTo>
                    <a:pt x="12809" y="726013"/>
                    <a:pt x="218518" y="931722"/>
                    <a:pt x="472266" y="931722"/>
                  </a:cubicBezTo>
                </a:path>
              </a:pathLst>
            </a:custGeom>
            <a:solidFill>
              <a:srgbClr val="D3D5DA"/>
            </a:solidFill>
            <a:ln w="127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5866">
                  <a:solidFill>
                    <a:srgbClr val="F5A800"/>
                  </a:solidFill>
                </a:rPr>
                <a:t>B</a:t>
              </a:r>
            </a:p>
          </p:txBody>
        </p:sp>
        <p:sp>
          <p:nvSpPr>
            <p:cNvPr id="123" name="Frihåndsform: figur 122">
              <a:extLst>
                <a:ext uri="{FF2B5EF4-FFF2-40B4-BE49-F238E27FC236}">
                  <a16:creationId xmlns:a16="http://schemas.microsoft.com/office/drawing/2014/main" id="{EA320117-BA42-4C10-85F7-A87CB0EC1F8C}"/>
                </a:ext>
              </a:extLst>
            </p:cNvPr>
            <p:cNvSpPr/>
            <p:nvPr/>
          </p:nvSpPr>
          <p:spPr>
            <a:xfrm>
              <a:off x="8498753" y="2425532"/>
              <a:ext cx="1174167" cy="944439"/>
            </a:xfrm>
            <a:custGeom>
              <a:avLst/>
              <a:gdLst>
                <a:gd name="connsiteX0" fmla="*/ 589300 w 1174166"/>
                <a:gd name="connsiteY0" fmla="*/ 12809 h 944438"/>
                <a:gd name="connsiteX1" fmla="*/ 12809 w 1174166"/>
                <a:gd name="connsiteY1" fmla="*/ 935424 h 944438"/>
                <a:gd name="connsiteX2" fmla="*/ 1165663 w 1174166"/>
                <a:gd name="connsiteY2" fmla="*/ 935424 h 944438"/>
                <a:gd name="connsiteX3" fmla="*/ 589300 w 1174166"/>
                <a:gd name="connsiteY3" fmla="*/ 12809 h 94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4166" h="944438">
                  <a:moveTo>
                    <a:pt x="589300" y="12809"/>
                  </a:moveTo>
                  <a:lnTo>
                    <a:pt x="12809" y="935424"/>
                  </a:lnTo>
                  <a:lnTo>
                    <a:pt x="1165663" y="935424"/>
                  </a:lnTo>
                  <a:lnTo>
                    <a:pt x="589300" y="12809"/>
                  </a:lnTo>
                  <a:close/>
                </a:path>
              </a:pathLst>
            </a:custGeom>
            <a:solidFill>
              <a:srgbClr val="D3D5DA"/>
            </a:solidFill>
            <a:ln w="12746" cap="flat">
              <a:noFill/>
              <a:prstDash val="solid"/>
              <a:miter/>
            </a:ln>
          </p:spPr>
          <p:txBody>
            <a:bodyPr tIns="288000" rtlCol="0" anchor="ctr"/>
            <a:lstStyle/>
            <a:p>
              <a:pPr algn="ctr"/>
              <a:r>
                <a:rPr lang="nb-NO" sz="5866">
                  <a:solidFill>
                    <a:srgbClr val="F5A800"/>
                  </a:solidFill>
                </a:rPr>
                <a:t>C</a:t>
              </a:r>
            </a:p>
          </p:txBody>
        </p:sp>
        <p:sp>
          <p:nvSpPr>
            <p:cNvPr id="124" name="Frihåndsform: figur 123">
              <a:extLst>
                <a:ext uri="{FF2B5EF4-FFF2-40B4-BE49-F238E27FC236}">
                  <a16:creationId xmlns:a16="http://schemas.microsoft.com/office/drawing/2014/main" id="{D4FCE9D2-771C-47C6-9F66-38AA6C101DF1}"/>
                </a:ext>
              </a:extLst>
            </p:cNvPr>
            <p:cNvSpPr/>
            <p:nvPr/>
          </p:nvSpPr>
          <p:spPr>
            <a:xfrm>
              <a:off x="6414097" y="568179"/>
              <a:ext cx="2016504" cy="1084828"/>
            </a:xfrm>
            <a:custGeom>
              <a:avLst/>
              <a:gdLst>
                <a:gd name="connsiteX0" fmla="*/ 76623 w 2016503"/>
                <a:gd name="connsiteY0" fmla="*/ 12809 h 1084828"/>
                <a:gd name="connsiteX1" fmla="*/ 12809 w 2016503"/>
                <a:gd name="connsiteY1" fmla="*/ 76623 h 1084828"/>
                <a:gd name="connsiteX2" fmla="*/ 12809 w 2016503"/>
                <a:gd name="connsiteY2" fmla="*/ 1010341 h 1084828"/>
                <a:gd name="connsiteX3" fmla="*/ 76623 w 2016503"/>
                <a:gd name="connsiteY3" fmla="*/ 1074154 h 1084828"/>
                <a:gd name="connsiteX4" fmla="*/ 1943292 w 2016503"/>
                <a:gd name="connsiteY4" fmla="*/ 1074154 h 1084828"/>
                <a:gd name="connsiteX5" fmla="*/ 2007106 w 2016503"/>
                <a:gd name="connsiteY5" fmla="*/ 1010341 h 1084828"/>
                <a:gd name="connsiteX6" fmla="*/ 2007106 w 2016503"/>
                <a:gd name="connsiteY6" fmla="*/ 76623 h 1084828"/>
                <a:gd name="connsiteX7" fmla="*/ 1943292 w 2016503"/>
                <a:gd name="connsiteY7" fmla="*/ 12809 h 1084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16503" h="1084828">
                  <a:moveTo>
                    <a:pt x="76623" y="12809"/>
                  </a:moveTo>
                  <a:cubicBezTo>
                    <a:pt x="76623" y="12809"/>
                    <a:pt x="12809" y="12809"/>
                    <a:pt x="12809" y="76623"/>
                  </a:cubicBezTo>
                  <a:lnTo>
                    <a:pt x="12809" y="1010341"/>
                  </a:lnTo>
                  <a:cubicBezTo>
                    <a:pt x="12809" y="1010341"/>
                    <a:pt x="12809" y="1074154"/>
                    <a:pt x="76623" y="1074154"/>
                  </a:cubicBezTo>
                  <a:lnTo>
                    <a:pt x="1943292" y="1074154"/>
                  </a:lnTo>
                  <a:cubicBezTo>
                    <a:pt x="1943292" y="1074154"/>
                    <a:pt x="2007106" y="1074154"/>
                    <a:pt x="2007106" y="1010341"/>
                  </a:cubicBezTo>
                  <a:lnTo>
                    <a:pt x="2007106" y="76623"/>
                  </a:lnTo>
                  <a:cubicBezTo>
                    <a:pt x="2007106" y="76623"/>
                    <a:pt x="2007106" y="12809"/>
                    <a:pt x="1943292" y="12809"/>
                  </a:cubicBezTo>
                  <a:close/>
                </a:path>
              </a:pathLst>
            </a:custGeom>
            <a:solidFill>
              <a:srgbClr val="F5A800"/>
            </a:solidFill>
            <a:ln w="1274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5866">
                <a:solidFill>
                  <a:srgbClr val="D3D5DA"/>
                </a:solidFill>
              </a:endParaRPr>
            </a:p>
          </p:txBody>
        </p:sp>
        <p:sp>
          <p:nvSpPr>
            <p:cNvPr id="125" name="Frihåndsform: figur 124">
              <a:extLst>
                <a:ext uri="{FF2B5EF4-FFF2-40B4-BE49-F238E27FC236}">
                  <a16:creationId xmlns:a16="http://schemas.microsoft.com/office/drawing/2014/main" id="{24ED108E-A086-4C8D-BC97-A42BC7EA7968}"/>
                </a:ext>
              </a:extLst>
            </p:cNvPr>
            <p:cNvSpPr/>
            <p:nvPr/>
          </p:nvSpPr>
          <p:spPr>
            <a:xfrm>
              <a:off x="7385371" y="1725278"/>
              <a:ext cx="76576" cy="587083"/>
            </a:xfrm>
            <a:custGeom>
              <a:avLst/>
              <a:gdLst>
                <a:gd name="connsiteX0" fmla="*/ 38428 w 76576"/>
                <a:gd name="connsiteY0" fmla="*/ 38428 h 587083"/>
                <a:gd name="connsiteX1" fmla="*/ 38428 w 76576"/>
                <a:gd name="connsiteY1" fmla="*/ 559911 h 58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76" h="587083">
                  <a:moveTo>
                    <a:pt x="38428" y="38428"/>
                  </a:moveTo>
                  <a:lnTo>
                    <a:pt x="38428" y="559911"/>
                  </a:lnTo>
                </a:path>
              </a:pathLst>
            </a:custGeom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26" name="Frihåndsform: figur 125">
              <a:extLst>
                <a:ext uri="{FF2B5EF4-FFF2-40B4-BE49-F238E27FC236}">
                  <a16:creationId xmlns:a16="http://schemas.microsoft.com/office/drawing/2014/main" id="{4FDEDB19-3BBC-4977-BAE6-0CA0414B86B1}"/>
                </a:ext>
              </a:extLst>
            </p:cNvPr>
            <p:cNvSpPr/>
            <p:nvPr/>
          </p:nvSpPr>
          <p:spPr>
            <a:xfrm>
              <a:off x="7312241" y="1725278"/>
              <a:ext cx="216966" cy="153152"/>
            </a:xfrm>
            <a:custGeom>
              <a:avLst/>
              <a:gdLst>
                <a:gd name="connsiteX0" fmla="*/ 38428 w 216965"/>
                <a:gd name="connsiteY0" fmla="*/ 117046 h 153152"/>
                <a:gd name="connsiteX1" fmla="*/ 111558 w 216965"/>
                <a:gd name="connsiteY1" fmla="*/ 38428 h 153152"/>
                <a:gd name="connsiteX2" fmla="*/ 184560 w 216965"/>
                <a:gd name="connsiteY2" fmla="*/ 117046 h 15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965" h="153152">
                  <a:moveTo>
                    <a:pt x="38428" y="117046"/>
                  </a:moveTo>
                  <a:lnTo>
                    <a:pt x="111558" y="38428"/>
                  </a:lnTo>
                  <a:lnTo>
                    <a:pt x="184560" y="117046"/>
                  </a:lnTo>
                </a:path>
              </a:pathLst>
            </a:custGeom>
            <a:noFill/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27" name="Frihåndsform: figur 126">
              <a:extLst>
                <a:ext uri="{FF2B5EF4-FFF2-40B4-BE49-F238E27FC236}">
                  <a16:creationId xmlns:a16="http://schemas.microsoft.com/office/drawing/2014/main" id="{3294B45B-B3AD-4425-A0A1-79F99907FBC9}"/>
                </a:ext>
              </a:extLst>
            </p:cNvPr>
            <p:cNvSpPr/>
            <p:nvPr/>
          </p:nvSpPr>
          <p:spPr>
            <a:xfrm>
              <a:off x="7312241" y="2168271"/>
              <a:ext cx="216966" cy="153152"/>
            </a:xfrm>
            <a:custGeom>
              <a:avLst/>
              <a:gdLst>
                <a:gd name="connsiteX0" fmla="*/ 184560 w 216965"/>
                <a:gd name="connsiteY0" fmla="*/ 38428 h 153152"/>
                <a:gd name="connsiteX1" fmla="*/ 111558 w 216965"/>
                <a:gd name="connsiteY1" fmla="*/ 116918 h 153152"/>
                <a:gd name="connsiteX2" fmla="*/ 38428 w 216965"/>
                <a:gd name="connsiteY2" fmla="*/ 38428 h 15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965" h="153152">
                  <a:moveTo>
                    <a:pt x="184560" y="38428"/>
                  </a:moveTo>
                  <a:lnTo>
                    <a:pt x="111558" y="116918"/>
                  </a:lnTo>
                  <a:lnTo>
                    <a:pt x="38428" y="38428"/>
                  </a:lnTo>
                </a:path>
              </a:pathLst>
            </a:custGeom>
            <a:noFill/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28" name="Frihåndsform: figur 127">
              <a:extLst>
                <a:ext uri="{FF2B5EF4-FFF2-40B4-BE49-F238E27FC236}">
                  <a16:creationId xmlns:a16="http://schemas.microsoft.com/office/drawing/2014/main" id="{A78F6B8B-2000-4BA2-93A6-5CE163B5E9F1}"/>
                </a:ext>
              </a:extLst>
            </p:cNvPr>
            <p:cNvSpPr/>
            <p:nvPr/>
          </p:nvSpPr>
          <p:spPr>
            <a:xfrm>
              <a:off x="5701718" y="1965855"/>
              <a:ext cx="76576" cy="344592"/>
            </a:xfrm>
            <a:custGeom>
              <a:avLst/>
              <a:gdLst>
                <a:gd name="connsiteX0" fmla="*/ 38428 w 76576"/>
                <a:gd name="connsiteY0" fmla="*/ 38428 h 344592"/>
                <a:gd name="connsiteX1" fmla="*/ 38428 w 76576"/>
                <a:gd name="connsiteY1" fmla="*/ 310400 h 34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76" h="344592">
                  <a:moveTo>
                    <a:pt x="38428" y="38428"/>
                  </a:moveTo>
                  <a:lnTo>
                    <a:pt x="38428" y="310400"/>
                  </a:lnTo>
                </a:path>
              </a:pathLst>
            </a:custGeom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29" name="Frihåndsform: figur 128">
              <a:extLst>
                <a:ext uri="{FF2B5EF4-FFF2-40B4-BE49-F238E27FC236}">
                  <a16:creationId xmlns:a16="http://schemas.microsoft.com/office/drawing/2014/main" id="{FC96D44F-60BA-461C-94B4-ECAE5372ACAE}"/>
                </a:ext>
              </a:extLst>
            </p:cNvPr>
            <p:cNvSpPr/>
            <p:nvPr/>
          </p:nvSpPr>
          <p:spPr>
            <a:xfrm>
              <a:off x="5628588" y="2159210"/>
              <a:ext cx="216966" cy="153152"/>
            </a:xfrm>
            <a:custGeom>
              <a:avLst/>
              <a:gdLst>
                <a:gd name="connsiteX0" fmla="*/ 184560 w 216965"/>
                <a:gd name="connsiteY0" fmla="*/ 38428 h 153152"/>
                <a:gd name="connsiteX1" fmla="*/ 111558 w 216965"/>
                <a:gd name="connsiteY1" fmla="*/ 117046 h 153152"/>
                <a:gd name="connsiteX2" fmla="*/ 38428 w 216965"/>
                <a:gd name="connsiteY2" fmla="*/ 38428 h 15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965" h="153152">
                  <a:moveTo>
                    <a:pt x="184560" y="38428"/>
                  </a:moveTo>
                  <a:lnTo>
                    <a:pt x="111558" y="117046"/>
                  </a:lnTo>
                  <a:lnTo>
                    <a:pt x="38428" y="38428"/>
                  </a:lnTo>
                </a:path>
              </a:pathLst>
            </a:custGeom>
            <a:noFill/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30" name="Frihåndsform: figur 129">
              <a:extLst>
                <a:ext uri="{FF2B5EF4-FFF2-40B4-BE49-F238E27FC236}">
                  <a16:creationId xmlns:a16="http://schemas.microsoft.com/office/drawing/2014/main" id="{EB97F60E-E031-4F31-8EC2-5F2F9F798033}"/>
                </a:ext>
              </a:extLst>
            </p:cNvPr>
            <p:cNvSpPr/>
            <p:nvPr/>
          </p:nvSpPr>
          <p:spPr>
            <a:xfrm>
              <a:off x="9056517" y="1965855"/>
              <a:ext cx="76576" cy="344592"/>
            </a:xfrm>
            <a:custGeom>
              <a:avLst/>
              <a:gdLst>
                <a:gd name="connsiteX0" fmla="*/ 38427 w 76576"/>
                <a:gd name="connsiteY0" fmla="*/ 38428 h 344592"/>
                <a:gd name="connsiteX1" fmla="*/ 38427 w 76576"/>
                <a:gd name="connsiteY1" fmla="*/ 310400 h 34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576" h="344592">
                  <a:moveTo>
                    <a:pt x="38427" y="38428"/>
                  </a:moveTo>
                  <a:lnTo>
                    <a:pt x="38427" y="310400"/>
                  </a:lnTo>
                </a:path>
              </a:pathLst>
            </a:custGeom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31" name="Frihåndsform: figur 130">
              <a:extLst>
                <a:ext uri="{FF2B5EF4-FFF2-40B4-BE49-F238E27FC236}">
                  <a16:creationId xmlns:a16="http://schemas.microsoft.com/office/drawing/2014/main" id="{A457B669-4608-4AB4-9CEC-F5ABF305EBDA}"/>
                </a:ext>
              </a:extLst>
            </p:cNvPr>
            <p:cNvSpPr/>
            <p:nvPr/>
          </p:nvSpPr>
          <p:spPr>
            <a:xfrm>
              <a:off x="8983514" y="2159210"/>
              <a:ext cx="216966" cy="153152"/>
            </a:xfrm>
            <a:custGeom>
              <a:avLst/>
              <a:gdLst>
                <a:gd name="connsiteX0" fmla="*/ 184560 w 216965"/>
                <a:gd name="connsiteY0" fmla="*/ 38428 h 153152"/>
                <a:gd name="connsiteX1" fmla="*/ 111430 w 216965"/>
                <a:gd name="connsiteY1" fmla="*/ 117046 h 153152"/>
                <a:gd name="connsiteX2" fmla="*/ 38428 w 216965"/>
                <a:gd name="connsiteY2" fmla="*/ 38428 h 15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6965" h="153152">
                  <a:moveTo>
                    <a:pt x="184560" y="38428"/>
                  </a:moveTo>
                  <a:lnTo>
                    <a:pt x="111430" y="117046"/>
                  </a:lnTo>
                  <a:lnTo>
                    <a:pt x="38428" y="38428"/>
                  </a:lnTo>
                </a:path>
              </a:pathLst>
            </a:custGeom>
            <a:noFill/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32" name="Frihåndsform: figur 131">
              <a:extLst>
                <a:ext uri="{FF2B5EF4-FFF2-40B4-BE49-F238E27FC236}">
                  <a16:creationId xmlns:a16="http://schemas.microsoft.com/office/drawing/2014/main" id="{2159B3AF-0F45-412D-8A7C-2D959BA04144}"/>
                </a:ext>
              </a:extLst>
            </p:cNvPr>
            <p:cNvSpPr/>
            <p:nvPr/>
          </p:nvSpPr>
          <p:spPr>
            <a:xfrm>
              <a:off x="5707334" y="1965855"/>
              <a:ext cx="3407636" cy="76576"/>
            </a:xfrm>
            <a:custGeom>
              <a:avLst/>
              <a:gdLst>
                <a:gd name="connsiteX0" fmla="*/ 38428 w 3407636"/>
                <a:gd name="connsiteY0" fmla="*/ 38428 h 76576"/>
                <a:gd name="connsiteX1" fmla="*/ 3380719 w 3407636"/>
                <a:gd name="connsiteY1" fmla="*/ 38428 h 7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07636" h="76576">
                  <a:moveTo>
                    <a:pt x="38428" y="38428"/>
                  </a:moveTo>
                  <a:lnTo>
                    <a:pt x="3380719" y="38428"/>
                  </a:lnTo>
                </a:path>
              </a:pathLst>
            </a:custGeom>
            <a:ln w="38239" cap="rnd">
              <a:solidFill>
                <a:srgbClr val="BEC1C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</p:grpSp>
      <p:grpSp>
        <p:nvGrpSpPr>
          <p:cNvPr id="133" name="i36" hidden="1">
            <a:extLst>
              <a:ext uri="{FF2B5EF4-FFF2-40B4-BE49-F238E27FC236}">
                <a16:creationId xmlns:a16="http://schemas.microsoft.com/office/drawing/2014/main" id="{10CE5D18-9020-45D5-97D3-A6D9A71A87A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81292" y="2221017"/>
            <a:ext cx="8291832" cy="4704789"/>
            <a:chOff x="2023106" y="869578"/>
            <a:chExt cx="4664611" cy="2646444"/>
          </a:xfrm>
        </p:grpSpPr>
        <p:sp>
          <p:nvSpPr>
            <p:cNvPr id="134" name="Frihåndsform: figur 133">
              <a:extLst>
                <a:ext uri="{FF2B5EF4-FFF2-40B4-BE49-F238E27FC236}">
                  <a16:creationId xmlns:a16="http://schemas.microsoft.com/office/drawing/2014/main" id="{1ACF28AB-4BB4-4AEE-9C6B-08BD77747782}"/>
                </a:ext>
              </a:extLst>
            </p:cNvPr>
            <p:cNvSpPr/>
            <p:nvPr/>
          </p:nvSpPr>
          <p:spPr>
            <a:xfrm>
              <a:off x="2023106" y="869578"/>
              <a:ext cx="2646444" cy="2646444"/>
            </a:xfrm>
            <a:custGeom>
              <a:avLst/>
              <a:gdLst>
                <a:gd name="connsiteX0" fmla="*/ 1325894 w 2646443"/>
                <a:gd name="connsiteY0" fmla="*/ 2642500 h 2646444"/>
                <a:gd name="connsiteX1" fmla="*/ 2642500 w 2646443"/>
                <a:gd name="connsiteY1" fmla="*/ 1326149 h 2646444"/>
                <a:gd name="connsiteX2" fmla="*/ 1326148 w 2646443"/>
                <a:gd name="connsiteY2" fmla="*/ 9542 h 2646444"/>
                <a:gd name="connsiteX3" fmla="*/ 9542 w 2646443"/>
                <a:gd name="connsiteY3" fmla="*/ 1325894 h 2646444"/>
                <a:gd name="connsiteX4" fmla="*/ 9542 w 2646443"/>
                <a:gd name="connsiteY4" fmla="*/ 1326021 h 2646444"/>
                <a:gd name="connsiteX5" fmla="*/ 1325767 w 2646443"/>
                <a:gd name="connsiteY5" fmla="*/ 2642500 h 2646444"/>
                <a:gd name="connsiteX6" fmla="*/ 1325894 w 2646443"/>
                <a:gd name="connsiteY6" fmla="*/ 2642500 h 2646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46443" h="2646444">
                  <a:moveTo>
                    <a:pt x="1325894" y="2642500"/>
                  </a:moveTo>
                  <a:cubicBezTo>
                    <a:pt x="2052966" y="2642576"/>
                    <a:pt x="2642423" y="2053221"/>
                    <a:pt x="2642500" y="1326149"/>
                  </a:cubicBezTo>
                  <a:cubicBezTo>
                    <a:pt x="2642576" y="599077"/>
                    <a:pt x="2053221" y="9613"/>
                    <a:pt x="1326148" y="9542"/>
                  </a:cubicBezTo>
                  <a:cubicBezTo>
                    <a:pt x="599077" y="9472"/>
                    <a:pt x="9613" y="598823"/>
                    <a:pt x="9542" y="1325894"/>
                  </a:cubicBezTo>
                  <a:cubicBezTo>
                    <a:pt x="9542" y="1325932"/>
                    <a:pt x="9542" y="1325983"/>
                    <a:pt x="9542" y="1326021"/>
                  </a:cubicBezTo>
                  <a:cubicBezTo>
                    <a:pt x="9472" y="2053017"/>
                    <a:pt x="598766" y="2642424"/>
                    <a:pt x="1325767" y="2642500"/>
                  </a:cubicBezTo>
                  <a:cubicBezTo>
                    <a:pt x="1325805" y="2642500"/>
                    <a:pt x="1325856" y="2642500"/>
                    <a:pt x="1325894" y="2642500"/>
                  </a:cubicBezTo>
                </a:path>
              </a:pathLst>
            </a:custGeom>
            <a:solidFill>
              <a:srgbClr val="D9DAD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4024"/>
                <a:t>Tekst</a:t>
              </a:r>
            </a:p>
          </p:txBody>
        </p:sp>
        <p:sp>
          <p:nvSpPr>
            <p:cNvPr id="135" name="Frihåndsform: figur 134">
              <a:extLst>
                <a:ext uri="{FF2B5EF4-FFF2-40B4-BE49-F238E27FC236}">
                  <a16:creationId xmlns:a16="http://schemas.microsoft.com/office/drawing/2014/main" id="{D4593D0E-C029-4DA1-99E1-4789BE513BFB}"/>
                </a:ext>
              </a:extLst>
            </p:cNvPr>
            <p:cNvSpPr/>
            <p:nvPr/>
          </p:nvSpPr>
          <p:spPr>
            <a:xfrm>
              <a:off x="5097306" y="1392505"/>
              <a:ext cx="1590411" cy="1603134"/>
            </a:xfrm>
            <a:custGeom>
              <a:avLst/>
              <a:gdLst>
                <a:gd name="connsiteX0" fmla="*/ 797241 w 1590410"/>
                <a:gd name="connsiteY0" fmla="*/ 1596391 h 1603134"/>
                <a:gd name="connsiteX1" fmla="*/ 1584813 w 1590410"/>
                <a:gd name="connsiteY1" fmla="*/ 802967 h 1603134"/>
                <a:gd name="connsiteX2" fmla="*/ 797241 w 1590410"/>
                <a:gd name="connsiteY2" fmla="*/ 9542 h 1603134"/>
                <a:gd name="connsiteX3" fmla="*/ 9542 w 1590410"/>
                <a:gd name="connsiteY3" fmla="*/ 802967 h 1603134"/>
                <a:gd name="connsiteX4" fmla="*/ 797241 w 1590410"/>
                <a:gd name="connsiteY4" fmla="*/ 1596391 h 160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90410" h="1603134">
                  <a:moveTo>
                    <a:pt x="797241" y="1596391"/>
                  </a:moveTo>
                  <a:cubicBezTo>
                    <a:pt x="1232251" y="1596391"/>
                    <a:pt x="1584813" y="1241157"/>
                    <a:pt x="1584813" y="802967"/>
                  </a:cubicBezTo>
                  <a:cubicBezTo>
                    <a:pt x="1584813" y="364777"/>
                    <a:pt x="1232251" y="9542"/>
                    <a:pt x="797241" y="9542"/>
                  </a:cubicBezTo>
                  <a:cubicBezTo>
                    <a:pt x="362232" y="9542"/>
                    <a:pt x="9542" y="364649"/>
                    <a:pt x="9542" y="802967"/>
                  </a:cubicBezTo>
                  <a:cubicBezTo>
                    <a:pt x="9542" y="1241284"/>
                    <a:pt x="362232" y="1596391"/>
                    <a:pt x="797241" y="1596391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4024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36" name="Frihåndsform: figur 135">
              <a:extLst>
                <a:ext uri="{FF2B5EF4-FFF2-40B4-BE49-F238E27FC236}">
                  <a16:creationId xmlns:a16="http://schemas.microsoft.com/office/drawing/2014/main" id="{85144418-E253-42CD-8D89-A220BA97F246}"/>
                </a:ext>
              </a:extLst>
            </p:cNvPr>
            <p:cNvSpPr/>
            <p:nvPr/>
          </p:nvSpPr>
          <p:spPr>
            <a:xfrm>
              <a:off x="4764211" y="2057329"/>
              <a:ext cx="241742" cy="267189"/>
            </a:xfrm>
            <a:custGeom>
              <a:avLst/>
              <a:gdLst>
                <a:gd name="connsiteX0" fmla="*/ 225329 w 241742"/>
                <a:gd name="connsiteY0" fmla="*/ 150103 h 267189"/>
                <a:gd name="connsiteX1" fmla="*/ 225329 w 241742"/>
                <a:gd name="connsiteY1" fmla="*/ 126183 h 267189"/>
                <a:gd name="connsiteX2" fmla="*/ 30027 w 241742"/>
                <a:gd name="connsiteY2" fmla="*/ 12565 h 267189"/>
                <a:gd name="connsiteX3" fmla="*/ 9542 w 241742"/>
                <a:gd name="connsiteY3" fmla="*/ 24270 h 267189"/>
                <a:gd name="connsiteX4" fmla="*/ 9542 w 241742"/>
                <a:gd name="connsiteY4" fmla="*/ 252017 h 267189"/>
                <a:gd name="connsiteX5" fmla="*/ 30027 w 241742"/>
                <a:gd name="connsiteY5" fmla="*/ 263849 h 267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1742" h="267189">
                  <a:moveTo>
                    <a:pt x="225329" y="150103"/>
                  </a:moveTo>
                  <a:cubicBezTo>
                    <a:pt x="225329" y="150103"/>
                    <a:pt x="245814" y="138143"/>
                    <a:pt x="225329" y="126183"/>
                  </a:cubicBezTo>
                  <a:lnTo>
                    <a:pt x="30027" y="12565"/>
                  </a:lnTo>
                  <a:cubicBezTo>
                    <a:pt x="30027" y="12565"/>
                    <a:pt x="9542" y="605"/>
                    <a:pt x="9542" y="24270"/>
                  </a:cubicBezTo>
                  <a:lnTo>
                    <a:pt x="9542" y="252017"/>
                  </a:lnTo>
                  <a:cubicBezTo>
                    <a:pt x="9542" y="252017"/>
                    <a:pt x="9542" y="275682"/>
                    <a:pt x="30027" y="263849"/>
                  </a:cubicBezTo>
                  <a:close/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4024"/>
            </a:p>
          </p:txBody>
        </p:sp>
      </p:grpSp>
      <p:grpSp>
        <p:nvGrpSpPr>
          <p:cNvPr id="137" name="i37" hidden="1">
            <a:extLst>
              <a:ext uri="{FF2B5EF4-FFF2-40B4-BE49-F238E27FC236}">
                <a16:creationId xmlns:a16="http://schemas.microsoft.com/office/drawing/2014/main" id="{49783E23-45AB-4E2E-8447-96C6045FCC29}"/>
              </a:ext>
            </a:extLst>
          </p:cNvPr>
          <p:cNvGrpSpPr/>
          <p:nvPr userDrawn="1"/>
        </p:nvGrpSpPr>
        <p:grpSpPr>
          <a:xfrm>
            <a:off x="1573143" y="3669019"/>
            <a:ext cx="13108130" cy="1808788"/>
            <a:chOff x="572478" y="2316962"/>
            <a:chExt cx="7374043" cy="1017443"/>
          </a:xfrm>
        </p:grpSpPr>
        <p:sp>
          <p:nvSpPr>
            <p:cNvPr id="138" name="Frihåndsform: figur 137">
              <a:extLst>
                <a:ext uri="{FF2B5EF4-FFF2-40B4-BE49-F238E27FC236}">
                  <a16:creationId xmlns:a16="http://schemas.microsoft.com/office/drawing/2014/main" id="{D8DC7A1F-D349-49B4-BA2D-4ED08E64C242}"/>
                </a:ext>
              </a:extLst>
            </p:cNvPr>
            <p:cNvSpPr/>
            <p:nvPr/>
          </p:nvSpPr>
          <p:spPr>
            <a:xfrm>
              <a:off x="572478" y="2316962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317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79" y="1018409"/>
                    <a:pt x="1018263" y="792639"/>
                    <a:pt x="1018333" y="514063"/>
                  </a:cubicBezTo>
                  <a:cubicBezTo>
                    <a:pt x="1018403" y="235487"/>
                    <a:pt x="792634" y="9615"/>
                    <a:pt x="514063" y="9539"/>
                  </a:cubicBezTo>
                  <a:cubicBezTo>
                    <a:pt x="235492" y="9462"/>
                    <a:pt x="9609" y="235233"/>
                    <a:pt x="9539" y="513809"/>
                  </a:cubicBezTo>
                  <a:cubicBezTo>
                    <a:pt x="9538" y="513974"/>
                    <a:pt x="9539" y="514152"/>
                    <a:pt x="9539" y="514317"/>
                  </a:cubicBezTo>
                  <a:cubicBezTo>
                    <a:pt x="9679" y="792715"/>
                    <a:pt x="235407" y="1018333"/>
                    <a:pt x="513809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39" name="Frihåndsform: figur 138">
              <a:extLst>
                <a:ext uri="{FF2B5EF4-FFF2-40B4-BE49-F238E27FC236}">
                  <a16:creationId xmlns:a16="http://schemas.microsoft.com/office/drawing/2014/main" id="{8731814A-2C12-4E03-BC6B-B2DFC752FC40}"/>
                </a:ext>
              </a:extLst>
            </p:cNvPr>
            <p:cNvSpPr/>
            <p:nvPr/>
          </p:nvSpPr>
          <p:spPr>
            <a:xfrm>
              <a:off x="1844282" y="2316962"/>
              <a:ext cx="1017443" cy="1017443"/>
            </a:xfrm>
            <a:custGeom>
              <a:avLst/>
              <a:gdLst>
                <a:gd name="connsiteX0" fmla="*/ 513300 w 1017442"/>
                <a:gd name="connsiteY0" fmla="*/ 1018333 h 1017442"/>
                <a:gd name="connsiteX1" fmla="*/ 1018333 w 1017442"/>
                <a:gd name="connsiteY1" fmla="*/ 514572 h 1017442"/>
                <a:gd name="connsiteX2" fmla="*/ 514572 w 1017442"/>
                <a:gd name="connsiteY2" fmla="*/ 9539 h 1017442"/>
                <a:gd name="connsiteX3" fmla="*/ 9539 w 1017442"/>
                <a:gd name="connsiteY3" fmla="*/ 513300 h 1017442"/>
                <a:gd name="connsiteX4" fmla="*/ 9539 w 1017442"/>
                <a:gd name="connsiteY4" fmla="*/ 514318 h 1017442"/>
                <a:gd name="connsiteX5" fmla="*/ 513300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300" y="1018333"/>
                  </a:moveTo>
                  <a:cubicBezTo>
                    <a:pt x="791876" y="1018689"/>
                    <a:pt x="1017977" y="793148"/>
                    <a:pt x="1018333" y="514572"/>
                  </a:cubicBezTo>
                  <a:cubicBezTo>
                    <a:pt x="1018689" y="235996"/>
                    <a:pt x="793147" y="9895"/>
                    <a:pt x="514572" y="9539"/>
                  </a:cubicBezTo>
                  <a:cubicBezTo>
                    <a:pt x="235996" y="9183"/>
                    <a:pt x="9895" y="234724"/>
                    <a:pt x="9539" y="513300"/>
                  </a:cubicBezTo>
                  <a:cubicBezTo>
                    <a:pt x="9539" y="513644"/>
                    <a:pt x="9539" y="513974"/>
                    <a:pt x="9539" y="514318"/>
                  </a:cubicBezTo>
                  <a:cubicBezTo>
                    <a:pt x="9755" y="792487"/>
                    <a:pt x="235131" y="1017977"/>
                    <a:pt x="513300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0" name="Frihåndsform: figur 139">
              <a:extLst>
                <a:ext uri="{FF2B5EF4-FFF2-40B4-BE49-F238E27FC236}">
                  <a16:creationId xmlns:a16="http://schemas.microsoft.com/office/drawing/2014/main" id="{AB1CAA39-7513-4494-97DD-C49D4CBFA04F}"/>
                </a:ext>
              </a:extLst>
            </p:cNvPr>
            <p:cNvSpPr/>
            <p:nvPr/>
          </p:nvSpPr>
          <p:spPr>
            <a:xfrm>
              <a:off x="3115068" y="2316962"/>
              <a:ext cx="1017443" cy="1017443"/>
            </a:xfrm>
            <a:custGeom>
              <a:avLst/>
              <a:gdLst>
                <a:gd name="connsiteX0" fmla="*/ 513936 w 1017442"/>
                <a:gd name="connsiteY0" fmla="*/ 1018333 h 1017442"/>
                <a:gd name="connsiteX1" fmla="*/ 1018333 w 1017442"/>
                <a:gd name="connsiteY1" fmla="*/ 513936 h 1017442"/>
                <a:gd name="connsiteX2" fmla="*/ 513936 w 1017442"/>
                <a:gd name="connsiteY2" fmla="*/ 9539 h 1017442"/>
                <a:gd name="connsiteX3" fmla="*/ 9539 w 1017442"/>
                <a:gd name="connsiteY3" fmla="*/ 513936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  <a:gd name="connsiteX6" fmla="*/ 513936 w 1017442"/>
                <a:gd name="connsiteY6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442" h="1017442">
                  <a:moveTo>
                    <a:pt x="513936" y="1018333"/>
                  </a:moveTo>
                  <a:cubicBezTo>
                    <a:pt x="792512" y="1018333"/>
                    <a:pt x="1018333" y="792512"/>
                    <a:pt x="1018333" y="513936"/>
                  </a:cubicBezTo>
                  <a:cubicBezTo>
                    <a:pt x="1018333" y="235360"/>
                    <a:pt x="792512" y="9539"/>
                    <a:pt x="513936" y="9539"/>
                  </a:cubicBezTo>
                  <a:cubicBezTo>
                    <a:pt x="235360" y="9539"/>
                    <a:pt x="9539" y="235360"/>
                    <a:pt x="9539" y="513936"/>
                  </a:cubicBezTo>
                  <a:cubicBezTo>
                    <a:pt x="9539" y="513974"/>
                    <a:pt x="9539" y="514025"/>
                    <a:pt x="9539" y="514063"/>
                  </a:cubicBezTo>
                  <a:cubicBezTo>
                    <a:pt x="9539" y="792562"/>
                    <a:pt x="235309" y="1018333"/>
                    <a:pt x="513809" y="1018333"/>
                  </a:cubicBezTo>
                  <a:cubicBezTo>
                    <a:pt x="513847" y="1018333"/>
                    <a:pt x="513898" y="1018333"/>
                    <a:pt x="513936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1" name="Frihåndsform: figur 140">
              <a:extLst>
                <a:ext uri="{FF2B5EF4-FFF2-40B4-BE49-F238E27FC236}">
                  <a16:creationId xmlns:a16="http://schemas.microsoft.com/office/drawing/2014/main" id="{40273885-B313-4B05-9F81-9497D638E4C9}"/>
                </a:ext>
              </a:extLst>
            </p:cNvPr>
            <p:cNvSpPr/>
            <p:nvPr/>
          </p:nvSpPr>
          <p:spPr>
            <a:xfrm>
              <a:off x="4386490" y="2316962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9"/>
                    <a:pt x="1018257" y="792639"/>
                    <a:pt x="1018333" y="514063"/>
                  </a:cubicBezTo>
                  <a:cubicBezTo>
                    <a:pt x="1018409" y="235487"/>
                    <a:pt x="792638" y="9615"/>
                    <a:pt x="514063" y="9539"/>
                  </a:cubicBezTo>
                  <a:cubicBezTo>
                    <a:pt x="235487" y="9462"/>
                    <a:pt x="9615" y="235233"/>
                    <a:pt x="9539" y="513809"/>
                  </a:cubicBezTo>
                  <a:cubicBezTo>
                    <a:pt x="9539" y="513898"/>
                    <a:pt x="9539" y="513974"/>
                    <a:pt x="9539" y="514063"/>
                  </a:cubicBezTo>
                  <a:cubicBezTo>
                    <a:pt x="9539" y="792562"/>
                    <a:pt x="235309" y="1018333"/>
                    <a:pt x="513808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2" name="Frihåndsform: figur 141">
              <a:extLst>
                <a:ext uri="{FF2B5EF4-FFF2-40B4-BE49-F238E27FC236}">
                  <a16:creationId xmlns:a16="http://schemas.microsoft.com/office/drawing/2014/main" id="{2FCFFB7F-74E5-4E48-8E19-4407ABA7D04D}"/>
                </a:ext>
              </a:extLst>
            </p:cNvPr>
            <p:cNvSpPr/>
            <p:nvPr/>
          </p:nvSpPr>
          <p:spPr>
            <a:xfrm>
              <a:off x="5657784" y="2316962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9"/>
                    <a:pt x="1018257" y="792639"/>
                    <a:pt x="1018333" y="514063"/>
                  </a:cubicBezTo>
                  <a:cubicBezTo>
                    <a:pt x="1018409" y="235487"/>
                    <a:pt x="792639" y="9615"/>
                    <a:pt x="514063" y="9539"/>
                  </a:cubicBezTo>
                  <a:cubicBezTo>
                    <a:pt x="235487" y="9462"/>
                    <a:pt x="9602" y="235233"/>
                    <a:pt x="9539" y="513809"/>
                  </a:cubicBezTo>
                  <a:cubicBezTo>
                    <a:pt x="9539" y="513898"/>
                    <a:pt x="9539" y="513974"/>
                    <a:pt x="9539" y="514063"/>
                  </a:cubicBezTo>
                  <a:cubicBezTo>
                    <a:pt x="9539" y="792562"/>
                    <a:pt x="235309" y="1018333"/>
                    <a:pt x="513808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3" name="Frihåndsform: figur 142">
              <a:extLst>
                <a:ext uri="{FF2B5EF4-FFF2-40B4-BE49-F238E27FC236}">
                  <a16:creationId xmlns:a16="http://schemas.microsoft.com/office/drawing/2014/main" id="{41EDD32C-2F4D-435D-8FF2-B21698074FED}"/>
                </a:ext>
              </a:extLst>
            </p:cNvPr>
            <p:cNvSpPr/>
            <p:nvPr/>
          </p:nvSpPr>
          <p:spPr>
            <a:xfrm>
              <a:off x="6929078" y="2316962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85" y="1018409"/>
                    <a:pt x="1018269" y="792639"/>
                    <a:pt x="1018333" y="514063"/>
                  </a:cubicBezTo>
                  <a:cubicBezTo>
                    <a:pt x="1018397" y="235487"/>
                    <a:pt x="792638" y="9615"/>
                    <a:pt x="514063" y="9539"/>
                  </a:cubicBezTo>
                  <a:cubicBezTo>
                    <a:pt x="235487" y="9462"/>
                    <a:pt x="9602" y="235233"/>
                    <a:pt x="9539" y="513809"/>
                  </a:cubicBezTo>
                  <a:cubicBezTo>
                    <a:pt x="9539" y="513898"/>
                    <a:pt x="9539" y="513974"/>
                    <a:pt x="9539" y="514063"/>
                  </a:cubicBezTo>
                  <a:cubicBezTo>
                    <a:pt x="9539" y="792562"/>
                    <a:pt x="235309" y="1018333"/>
                    <a:pt x="513809" y="1018333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</p:grpSp>
      <p:grpSp>
        <p:nvGrpSpPr>
          <p:cNvPr id="144" name="i38" hidden="1">
            <a:extLst>
              <a:ext uri="{FF2B5EF4-FFF2-40B4-BE49-F238E27FC236}">
                <a16:creationId xmlns:a16="http://schemas.microsoft.com/office/drawing/2014/main" id="{B32FB979-2573-42DD-8D30-94777BB54097}"/>
              </a:ext>
            </a:extLst>
          </p:cNvPr>
          <p:cNvGrpSpPr/>
          <p:nvPr userDrawn="1"/>
        </p:nvGrpSpPr>
        <p:grpSpPr>
          <a:xfrm>
            <a:off x="1573143" y="3669017"/>
            <a:ext cx="13108130" cy="1808789"/>
            <a:chOff x="572478" y="947357"/>
            <a:chExt cx="7374043" cy="1017444"/>
          </a:xfrm>
        </p:grpSpPr>
        <p:sp>
          <p:nvSpPr>
            <p:cNvPr id="145" name="Frihåndsform: figur 144">
              <a:extLst>
                <a:ext uri="{FF2B5EF4-FFF2-40B4-BE49-F238E27FC236}">
                  <a16:creationId xmlns:a16="http://schemas.microsoft.com/office/drawing/2014/main" id="{BBBFE6EA-49B4-4B9F-B27D-16559DB40942}"/>
                </a:ext>
              </a:extLst>
            </p:cNvPr>
            <p:cNvSpPr/>
            <p:nvPr/>
          </p:nvSpPr>
          <p:spPr>
            <a:xfrm>
              <a:off x="572478" y="947357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79" y="1018403"/>
                    <a:pt x="1018263" y="792634"/>
                    <a:pt x="1018333" y="514063"/>
                  </a:cubicBezTo>
                  <a:cubicBezTo>
                    <a:pt x="1018403" y="235492"/>
                    <a:pt x="792634" y="9609"/>
                    <a:pt x="514063" y="9539"/>
                  </a:cubicBezTo>
                  <a:cubicBezTo>
                    <a:pt x="235492" y="9468"/>
                    <a:pt x="9609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8" y="1018333"/>
                    <a:pt x="513809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6" name="Frihåndsform: figur 145">
              <a:extLst>
                <a:ext uri="{FF2B5EF4-FFF2-40B4-BE49-F238E27FC236}">
                  <a16:creationId xmlns:a16="http://schemas.microsoft.com/office/drawing/2014/main" id="{60DAD195-8F52-40CE-B5AE-4A45A5D5ACEF}"/>
                </a:ext>
              </a:extLst>
            </p:cNvPr>
            <p:cNvSpPr/>
            <p:nvPr/>
          </p:nvSpPr>
          <p:spPr>
            <a:xfrm>
              <a:off x="1844282" y="947358"/>
              <a:ext cx="1017443" cy="1017443"/>
            </a:xfrm>
            <a:custGeom>
              <a:avLst/>
              <a:gdLst>
                <a:gd name="connsiteX0" fmla="*/ 513300 w 1017442"/>
                <a:gd name="connsiteY0" fmla="*/ 1018332 h 1017442"/>
                <a:gd name="connsiteX1" fmla="*/ 1018333 w 1017442"/>
                <a:gd name="connsiteY1" fmla="*/ 514571 h 1017442"/>
                <a:gd name="connsiteX2" fmla="*/ 514572 w 1017442"/>
                <a:gd name="connsiteY2" fmla="*/ 9539 h 1017442"/>
                <a:gd name="connsiteX3" fmla="*/ 9539 w 1017442"/>
                <a:gd name="connsiteY3" fmla="*/ 513299 h 1017442"/>
                <a:gd name="connsiteX4" fmla="*/ 9539 w 1017442"/>
                <a:gd name="connsiteY4" fmla="*/ 514063 h 1017442"/>
                <a:gd name="connsiteX5" fmla="*/ 513808 w 1017442"/>
                <a:gd name="connsiteY5" fmla="*/ 1018332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300" y="1018332"/>
                  </a:moveTo>
                  <a:cubicBezTo>
                    <a:pt x="791876" y="1018684"/>
                    <a:pt x="1017977" y="793142"/>
                    <a:pt x="1018333" y="514571"/>
                  </a:cubicBezTo>
                  <a:cubicBezTo>
                    <a:pt x="1018689" y="236001"/>
                    <a:pt x="793147" y="9890"/>
                    <a:pt x="514572" y="9539"/>
                  </a:cubicBezTo>
                  <a:cubicBezTo>
                    <a:pt x="235996" y="9188"/>
                    <a:pt x="9895" y="234729"/>
                    <a:pt x="9539" y="513299"/>
                  </a:cubicBezTo>
                  <a:cubicBezTo>
                    <a:pt x="9539" y="513554"/>
                    <a:pt x="9539" y="513808"/>
                    <a:pt x="9539" y="514063"/>
                  </a:cubicBezTo>
                  <a:cubicBezTo>
                    <a:pt x="9615" y="792534"/>
                    <a:pt x="235334" y="1018263"/>
                    <a:pt x="513808" y="1018332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7" name="Frihåndsform: figur 146">
              <a:extLst>
                <a:ext uri="{FF2B5EF4-FFF2-40B4-BE49-F238E27FC236}">
                  <a16:creationId xmlns:a16="http://schemas.microsoft.com/office/drawing/2014/main" id="{5FD33C7F-3F9A-4E55-B4C9-F301EB114E68}"/>
                </a:ext>
              </a:extLst>
            </p:cNvPr>
            <p:cNvSpPr/>
            <p:nvPr/>
          </p:nvSpPr>
          <p:spPr>
            <a:xfrm>
              <a:off x="3115068" y="947357"/>
              <a:ext cx="1017443" cy="1017443"/>
            </a:xfrm>
            <a:custGeom>
              <a:avLst/>
              <a:gdLst>
                <a:gd name="connsiteX0" fmla="*/ 513936 w 1017442"/>
                <a:gd name="connsiteY0" fmla="*/ 1018333 h 1017442"/>
                <a:gd name="connsiteX1" fmla="*/ 1018333 w 1017442"/>
                <a:gd name="connsiteY1" fmla="*/ 513936 h 1017442"/>
                <a:gd name="connsiteX2" fmla="*/ 513936 w 1017442"/>
                <a:gd name="connsiteY2" fmla="*/ 9539 h 1017442"/>
                <a:gd name="connsiteX3" fmla="*/ 9539 w 1017442"/>
                <a:gd name="connsiteY3" fmla="*/ 513936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  <a:gd name="connsiteX6" fmla="*/ 513936 w 1017442"/>
                <a:gd name="connsiteY6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7442" h="1017442">
                  <a:moveTo>
                    <a:pt x="513936" y="1018333"/>
                  </a:moveTo>
                  <a:cubicBezTo>
                    <a:pt x="792512" y="1018333"/>
                    <a:pt x="1018333" y="792506"/>
                    <a:pt x="1018333" y="513936"/>
                  </a:cubicBezTo>
                  <a:cubicBezTo>
                    <a:pt x="1018333" y="235365"/>
                    <a:pt x="792512" y="9539"/>
                    <a:pt x="513936" y="9539"/>
                  </a:cubicBezTo>
                  <a:cubicBezTo>
                    <a:pt x="235360" y="9539"/>
                    <a:pt x="9539" y="235365"/>
                    <a:pt x="9539" y="513936"/>
                  </a:cubicBezTo>
                  <a:cubicBezTo>
                    <a:pt x="9539" y="513978"/>
                    <a:pt x="9539" y="514021"/>
                    <a:pt x="9539" y="514063"/>
                  </a:cubicBezTo>
                  <a:cubicBezTo>
                    <a:pt x="9539" y="792564"/>
                    <a:pt x="235309" y="1018333"/>
                    <a:pt x="513809" y="1018333"/>
                  </a:cubicBezTo>
                  <a:cubicBezTo>
                    <a:pt x="513847" y="1018333"/>
                    <a:pt x="513898" y="1018333"/>
                    <a:pt x="513936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8" name="Frihåndsform: figur 147">
              <a:extLst>
                <a:ext uri="{FF2B5EF4-FFF2-40B4-BE49-F238E27FC236}">
                  <a16:creationId xmlns:a16="http://schemas.microsoft.com/office/drawing/2014/main" id="{E73AB39F-519B-4072-9339-763FA97B21EF}"/>
                </a:ext>
              </a:extLst>
            </p:cNvPr>
            <p:cNvSpPr/>
            <p:nvPr/>
          </p:nvSpPr>
          <p:spPr>
            <a:xfrm>
              <a:off x="4386490" y="947357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3"/>
                    <a:pt x="1018257" y="792634"/>
                    <a:pt x="1018333" y="514063"/>
                  </a:cubicBezTo>
                  <a:cubicBezTo>
                    <a:pt x="1018409" y="235492"/>
                    <a:pt x="792638" y="9609"/>
                    <a:pt x="514063" y="9539"/>
                  </a:cubicBezTo>
                  <a:cubicBezTo>
                    <a:pt x="235487" y="9468"/>
                    <a:pt x="9615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9" y="1018333"/>
                    <a:pt x="513808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49" name="Frihåndsform: figur 148">
              <a:extLst>
                <a:ext uri="{FF2B5EF4-FFF2-40B4-BE49-F238E27FC236}">
                  <a16:creationId xmlns:a16="http://schemas.microsoft.com/office/drawing/2014/main" id="{2BB36A9B-AA8D-451E-8450-429B901D031A}"/>
                </a:ext>
              </a:extLst>
            </p:cNvPr>
            <p:cNvSpPr/>
            <p:nvPr/>
          </p:nvSpPr>
          <p:spPr>
            <a:xfrm>
              <a:off x="5657784" y="947357"/>
              <a:ext cx="1017443" cy="1017443"/>
            </a:xfrm>
            <a:custGeom>
              <a:avLst/>
              <a:gdLst>
                <a:gd name="connsiteX0" fmla="*/ 513808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8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8" y="1018333"/>
                  </a:moveTo>
                  <a:cubicBezTo>
                    <a:pt x="792384" y="1018403"/>
                    <a:pt x="1018257" y="792634"/>
                    <a:pt x="1018333" y="514063"/>
                  </a:cubicBezTo>
                  <a:cubicBezTo>
                    <a:pt x="1018409" y="235492"/>
                    <a:pt x="792639" y="9609"/>
                    <a:pt x="514063" y="9539"/>
                  </a:cubicBezTo>
                  <a:cubicBezTo>
                    <a:pt x="235487" y="9468"/>
                    <a:pt x="9602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9" y="1018333"/>
                    <a:pt x="513808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50" name="Frihåndsform: figur 149">
              <a:extLst>
                <a:ext uri="{FF2B5EF4-FFF2-40B4-BE49-F238E27FC236}">
                  <a16:creationId xmlns:a16="http://schemas.microsoft.com/office/drawing/2014/main" id="{68534A62-BC70-4072-9CA1-7D71C159F94B}"/>
                </a:ext>
              </a:extLst>
            </p:cNvPr>
            <p:cNvSpPr/>
            <p:nvPr/>
          </p:nvSpPr>
          <p:spPr>
            <a:xfrm>
              <a:off x="6929078" y="947357"/>
              <a:ext cx="1017443" cy="1017443"/>
            </a:xfrm>
            <a:custGeom>
              <a:avLst/>
              <a:gdLst>
                <a:gd name="connsiteX0" fmla="*/ 513809 w 1017442"/>
                <a:gd name="connsiteY0" fmla="*/ 1018333 h 1017442"/>
                <a:gd name="connsiteX1" fmla="*/ 1018333 w 1017442"/>
                <a:gd name="connsiteY1" fmla="*/ 514063 h 1017442"/>
                <a:gd name="connsiteX2" fmla="*/ 514063 w 1017442"/>
                <a:gd name="connsiteY2" fmla="*/ 9539 h 1017442"/>
                <a:gd name="connsiteX3" fmla="*/ 9539 w 1017442"/>
                <a:gd name="connsiteY3" fmla="*/ 513809 h 1017442"/>
                <a:gd name="connsiteX4" fmla="*/ 9539 w 1017442"/>
                <a:gd name="connsiteY4" fmla="*/ 514063 h 1017442"/>
                <a:gd name="connsiteX5" fmla="*/ 513809 w 1017442"/>
                <a:gd name="connsiteY5" fmla="*/ 1018333 h 101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7442" h="1017442">
                  <a:moveTo>
                    <a:pt x="513809" y="1018333"/>
                  </a:moveTo>
                  <a:cubicBezTo>
                    <a:pt x="792385" y="1018403"/>
                    <a:pt x="1018269" y="792634"/>
                    <a:pt x="1018333" y="514063"/>
                  </a:cubicBezTo>
                  <a:cubicBezTo>
                    <a:pt x="1018397" y="235492"/>
                    <a:pt x="792638" y="9609"/>
                    <a:pt x="514063" y="9539"/>
                  </a:cubicBezTo>
                  <a:cubicBezTo>
                    <a:pt x="235487" y="9468"/>
                    <a:pt x="9602" y="235238"/>
                    <a:pt x="9539" y="513809"/>
                  </a:cubicBezTo>
                  <a:cubicBezTo>
                    <a:pt x="9539" y="513894"/>
                    <a:pt x="9539" y="513978"/>
                    <a:pt x="9539" y="514063"/>
                  </a:cubicBezTo>
                  <a:cubicBezTo>
                    <a:pt x="9539" y="792564"/>
                    <a:pt x="235309" y="1018333"/>
                    <a:pt x="513809" y="101833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pPr algn="ctr"/>
              <a:r>
                <a:rPr lang="nb-NO" sz="2133"/>
                <a:t>Tekst</a:t>
              </a:r>
            </a:p>
          </p:txBody>
        </p:sp>
      </p:grpSp>
      <p:grpSp>
        <p:nvGrpSpPr>
          <p:cNvPr id="151" name="i39" hidden="1">
            <a:extLst>
              <a:ext uri="{FF2B5EF4-FFF2-40B4-BE49-F238E27FC236}">
                <a16:creationId xmlns:a16="http://schemas.microsoft.com/office/drawing/2014/main" id="{71ADD019-331C-4E29-B7DA-7F6D00E0F550}"/>
              </a:ext>
            </a:extLst>
          </p:cNvPr>
          <p:cNvGrpSpPr/>
          <p:nvPr userDrawn="1"/>
        </p:nvGrpSpPr>
        <p:grpSpPr>
          <a:xfrm>
            <a:off x="2577006" y="2289624"/>
            <a:ext cx="11100404" cy="4567579"/>
            <a:chOff x="1368235" y="1070087"/>
            <a:chExt cx="6244587" cy="2569263"/>
          </a:xfrm>
        </p:grpSpPr>
        <p:sp>
          <p:nvSpPr>
            <p:cNvPr id="152" name="Frihåndsform: figur 151">
              <a:extLst>
                <a:ext uri="{FF2B5EF4-FFF2-40B4-BE49-F238E27FC236}">
                  <a16:creationId xmlns:a16="http://schemas.microsoft.com/office/drawing/2014/main" id="{2B501714-7FC1-4889-B327-612BE06E789B}"/>
                </a:ext>
              </a:extLst>
            </p:cNvPr>
            <p:cNvSpPr/>
            <p:nvPr/>
          </p:nvSpPr>
          <p:spPr>
            <a:xfrm>
              <a:off x="1368235" y="1074367"/>
              <a:ext cx="1105788" cy="1105788"/>
            </a:xfrm>
            <a:custGeom>
              <a:avLst/>
              <a:gdLst>
                <a:gd name="connsiteX0" fmla="*/ 939729 w 1105787"/>
                <a:gd name="connsiteY0" fmla="*/ 169196 h 1105787"/>
                <a:gd name="connsiteX1" fmla="*/ 939695 w 1105787"/>
                <a:gd name="connsiteY1" fmla="*/ 939782 h 1105787"/>
                <a:gd name="connsiteX2" fmla="*/ 169109 w 1105787"/>
                <a:gd name="connsiteY2" fmla="*/ 939748 h 1105787"/>
                <a:gd name="connsiteX3" fmla="*/ 169109 w 1105787"/>
                <a:gd name="connsiteY3" fmla="*/ 169196 h 1105787"/>
                <a:gd name="connsiteX4" fmla="*/ 939515 w 1105787"/>
                <a:gd name="connsiteY4" fmla="*/ 168982 h 1105787"/>
                <a:gd name="connsiteX5" fmla="*/ 939729 w 1105787"/>
                <a:gd name="connsiteY5" fmla="*/ 169196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939729" y="169196"/>
                  </a:moveTo>
                  <a:cubicBezTo>
                    <a:pt x="1152511" y="381997"/>
                    <a:pt x="1152496" y="727000"/>
                    <a:pt x="939695" y="939782"/>
                  </a:cubicBezTo>
                  <a:cubicBezTo>
                    <a:pt x="726894" y="1152564"/>
                    <a:pt x="381891" y="1152548"/>
                    <a:pt x="169109" y="939748"/>
                  </a:cubicBezTo>
                  <a:cubicBezTo>
                    <a:pt x="-43660" y="726960"/>
                    <a:pt x="-43660" y="381983"/>
                    <a:pt x="169109" y="169196"/>
                  </a:cubicBezTo>
                  <a:cubicBezTo>
                    <a:pt x="381792" y="-43605"/>
                    <a:pt x="726715" y="-43701"/>
                    <a:pt x="939515" y="168982"/>
                  </a:cubicBezTo>
                  <a:cubicBezTo>
                    <a:pt x="939587" y="169053"/>
                    <a:pt x="939658" y="169125"/>
                    <a:pt x="939729" y="169196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tx1"/>
                  </a:solidFill>
                </a:rPr>
                <a:t>Tekst</a:t>
              </a:r>
            </a:p>
          </p:txBody>
        </p:sp>
        <p:sp>
          <p:nvSpPr>
            <p:cNvPr id="153" name="Frihåndsform: figur 152">
              <a:extLst>
                <a:ext uri="{FF2B5EF4-FFF2-40B4-BE49-F238E27FC236}">
                  <a16:creationId xmlns:a16="http://schemas.microsoft.com/office/drawing/2014/main" id="{4FF682AE-6F4E-4983-84F4-21DEFCFAD040}"/>
                </a:ext>
              </a:extLst>
            </p:cNvPr>
            <p:cNvSpPr/>
            <p:nvPr/>
          </p:nvSpPr>
          <p:spPr>
            <a:xfrm>
              <a:off x="1368235" y="2533498"/>
              <a:ext cx="1105788" cy="1105788"/>
            </a:xfrm>
            <a:custGeom>
              <a:avLst/>
              <a:gdLst>
                <a:gd name="connsiteX0" fmla="*/ 939729 w 1105787"/>
                <a:gd name="connsiteY0" fmla="*/ 169196 h 1105787"/>
                <a:gd name="connsiteX1" fmla="*/ 939695 w 1105787"/>
                <a:gd name="connsiteY1" fmla="*/ 939782 h 1105787"/>
                <a:gd name="connsiteX2" fmla="*/ 169109 w 1105787"/>
                <a:gd name="connsiteY2" fmla="*/ 939748 h 1105787"/>
                <a:gd name="connsiteX3" fmla="*/ 169109 w 1105787"/>
                <a:gd name="connsiteY3" fmla="*/ 169196 h 1105787"/>
                <a:gd name="connsiteX4" fmla="*/ 939515 w 1105787"/>
                <a:gd name="connsiteY4" fmla="*/ 168982 h 1105787"/>
                <a:gd name="connsiteX5" fmla="*/ 939729 w 1105787"/>
                <a:gd name="connsiteY5" fmla="*/ 169196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939729" y="169196"/>
                  </a:moveTo>
                  <a:cubicBezTo>
                    <a:pt x="1152511" y="381997"/>
                    <a:pt x="1152496" y="727000"/>
                    <a:pt x="939695" y="939782"/>
                  </a:cubicBezTo>
                  <a:cubicBezTo>
                    <a:pt x="726894" y="1152564"/>
                    <a:pt x="381891" y="1152549"/>
                    <a:pt x="169109" y="939748"/>
                  </a:cubicBezTo>
                  <a:cubicBezTo>
                    <a:pt x="-43660" y="726960"/>
                    <a:pt x="-43660" y="381983"/>
                    <a:pt x="169109" y="169196"/>
                  </a:cubicBezTo>
                  <a:cubicBezTo>
                    <a:pt x="381792" y="-43605"/>
                    <a:pt x="726715" y="-43701"/>
                    <a:pt x="939515" y="168982"/>
                  </a:cubicBezTo>
                  <a:cubicBezTo>
                    <a:pt x="939587" y="169053"/>
                    <a:pt x="939658" y="169125"/>
                    <a:pt x="939729" y="169196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54" name="Frihåndsform: figur 153">
              <a:extLst>
                <a:ext uri="{FF2B5EF4-FFF2-40B4-BE49-F238E27FC236}">
                  <a16:creationId xmlns:a16="http://schemas.microsoft.com/office/drawing/2014/main" id="{7BF92166-09FB-4AB6-8853-6BCA1A15DB4D}"/>
                </a:ext>
              </a:extLst>
            </p:cNvPr>
            <p:cNvSpPr/>
            <p:nvPr/>
          </p:nvSpPr>
          <p:spPr>
            <a:xfrm>
              <a:off x="2652919" y="1074390"/>
              <a:ext cx="1105788" cy="1105788"/>
            </a:xfrm>
            <a:custGeom>
              <a:avLst/>
              <a:gdLst>
                <a:gd name="connsiteX0" fmla="*/ 9533 w 1105787"/>
                <a:gd name="connsiteY0" fmla="*/ 554419 h 1105787"/>
                <a:gd name="connsiteX1" fmla="*/ 554419 w 1105787"/>
                <a:gd name="connsiteY1" fmla="*/ 1099306 h 1105787"/>
                <a:gd name="connsiteX2" fmla="*/ 1099306 w 1105787"/>
                <a:gd name="connsiteY2" fmla="*/ 554419 h 1105787"/>
                <a:gd name="connsiteX3" fmla="*/ 554419 w 1105787"/>
                <a:gd name="connsiteY3" fmla="*/ 9533 h 1105787"/>
                <a:gd name="connsiteX4" fmla="*/ 9533 w 1105787"/>
                <a:gd name="connsiteY4" fmla="*/ 554419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5787" h="1105787">
                  <a:moveTo>
                    <a:pt x="9533" y="554419"/>
                  </a:moveTo>
                  <a:cubicBezTo>
                    <a:pt x="9533" y="855352"/>
                    <a:pt x="253487" y="1099306"/>
                    <a:pt x="554419" y="1099306"/>
                  </a:cubicBezTo>
                  <a:cubicBezTo>
                    <a:pt x="855352" y="1099306"/>
                    <a:pt x="1099306" y="855352"/>
                    <a:pt x="1099306" y="554419"/>
                  </a:cubicBezTo>
                  <a:cubicBezTo>
                    <a:pt x="1099306" y="253487"/>
                    <a:pt x="855352" y="9533"/>
                    <a:pt x="554419" y="9533"/>
                  </a:cubicBezTo>
                  <a:cubicBezTo>
                    <a:pt x="253487" y="9533"/>
                    <a:pt x="9533" y="253487"/>
                    <a:pt x="9533" y="554419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tx1"/>
                  </a:solidFill>
                </a:rPr>
                <a:t>Tekst</a:t>
              </a:r>
            </a:p>
          </p:txBody>
        </p:sp>
        <p:sp>
          <p:nvSpPr>
            <p:cNvPr id="155" name="Frihåndsform: figur 154">
              <a:extLst>
                <a:ext uri="{FF2B5EF4-FFF2-40B4-BE49-F238E27FC236}">
                  <a16:creationId xmlns:a16="http://schemas.microsoft.com/office/drawing/2014/main" id="{3C9A9245-F03B-4058-972A-AF5D5A0FE159}"/>
                </a:ext>
              </a:extLst>
            </p:cNvPr>
            <p:cNvSpPr/>
            <p:nvPr/>
          </p:nvSpPr>
          <p:spPr>
            <a:xfrm>
              <a:off x="2652919" y="2533394"/>
              <a:ext cx="1105788" cy="1105788"/>
            </a:xfrm>
            <a:custGeom>
              <a:avLst/>
              <a:gdLst>
                <a:gd name="connsiteX0" fmla="*/ 9533 w 1105787"/>
                <a:gd name="connsiteY0" fmla="*/ 554419 h 1105787"/>
                <a:gd name="connsiteX1" fmla="*/ 554419 w 1105787"/>
                <a:gd name="connsiteY1" fmla="*/ 1099306 h 1105787"/>
                <a:gd name="connsiteX2" fmla="*/ 1099306 w 1105787"/>
                <a:gd name="connsiteY2" fmla="*/ 554419 h 1105787"/>
                <a:gd name="connsiteX3" fmla="*/ 554419 w 1105787"/>
                <a:gd name="connsiteY3" fmla="*/ 9533 h 1105787"/>
                <a:gd name="connsiteX4" fmla="*/ 9533 w 1105787"/>
                <a:gd name="connsiteY4" fmla="*/ 554419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5787" h="1105787">
                  <a:moveTo>
                    <a:pt x="9533" y="554419"/>
                  </a:moveTo>
                  <a:cubicBezTo>
                    <a:pt x="9533" y="855352"/>
                    <a:pt x="253487" y="1099306"/>
                    <a:pt x="554419" y="1099306"/>
                  </a:cubicBezTo>
                  <a:cubicBezTo>
                    <a:pt x="855352" y="1099306"/>
                    <a:pt x="1099306" y="855352"/>
                    <a:pt x="1099306" y="554419"/>
                  </a:cubicBezTo>
                  <a:cubicBezTo>
                    <a:pt x="1099306" y="253487"/>
                    <a:pt x="855352" y="9533"/>
                    <a:pt x="554419" y="9533"/>
                  </a:cubicBezTo>
                  <a:cubicBezTo>
                    <a:pt x="253516" y="9603"/>
                    <a:pt x="9603" y="253516"/>
                    <a:pt x="9533" y="554419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56" name="Frihåndsform: figur 155">
              <a:extLst>
                <a:ext uri="{FF2B5EF4-FFF2-40B4-BE49-F238E27FC236}">
                  <a16:creationId xmlns:a16="http://schemas.microsoft.com/office/drawing/2014/main" id="{CB96F99F-82E0-4829-AA4B-7DE1D723AE44}"/>
                </a:ext>
              </a:extLst>
            </p:cNvPr>
            <p:cNvSpPr/>
            <p:nvPr/>
          </p:nvSpPr>
          <p:spPr>
            <a:xfrm>
              <a:off x="3937666" y="1074430"/>
              <a:ext cx="1105788" cy="1105788"/>
            </a:xfrm>
            <a:custGeom>
              <a:avLst/>
              <a:gdLst>
                <a:gd name="connsiteX0" fmla="*/ 169046 w 1105787"/>
                <a:gd name="connsiteY0" fmla="*/ 169132 h 1105787"/>
                <a:gd name="connsiteX1" fmla="*/ 169132 w 1105787"/>
                <a:gd name="connsiteY1" fmla="*/ 939538 h 1105787"/>
                <a:gd name="connsiteX2" fmla="*/ 939538 w 1105787"/>
                <a:gd name="connsiteY2" fmla="*/ 939452 h 1105787"/>
                <a:gd name="connsiteX3" fmla="*/ 939538 w 1105787"/>
                <a:gd name="connsiteY3" fmla="*/ 169132 h 1105787"/>
                <a:gd name="connsiteX4" fmla="*/ 169132 w 1105787"/>
                <a:gd name="connsiteY4" fmla="*/ 169046 h 1105787"/>
                <a:gd name="connsiteX5" fmla="*/ 169046 w 1105787"/>
                <a:gd name="connsiteY5" fmla="*/ 169132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169046" y="169132"/>
                  </a:moveTo>
                  <a:cubicBezTo>
                    <a:pt x="-43672" y="381898"/>
                    <a:pt x="-43633" y="726820"/>
                    <a:pt x="169132" y="939538"/>
                  </a:cubicBezTo>
                  <a:cubicBezTo>
                    <a:pt x="381898" y="1152256"/>
                    <a:pt x="726821" y="1152217"/>
                    <a:pt x="939538" y="939452"/>
                  </a:cubicBezTo>
                  <a:cubicBezTo>
                    <a:pt x="1152223" y="726720"/>
                    <a:pt x="1152223" y="381864"/>
                    <a:pt x="939538" y="169132"/>
                  </a:cubicBezTo>
                  <a:cubicBezTo>
                    <a:pt x="726821" y="-43633"/>
                    <a:pt x="381898" y="-43672"/>
                    <a:pt x="169132" y="169046"/>
                  </a:cubicBezTo>
                  <a:cubicBezTo>
                    <a:pt x="169104" y="169075"/>
                    <a:pt x="169075" y="169103"/>
                    <a:pt x="169046" y="169132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tx1"/>
                  </a:solidFill>
                </a:rPr>
                <a:t>Tekst</a:t>
              </a:r>
            </a:p>
          </p:txBody>
        </p:sp>
        <p:sp>
          <p:nvSpPr>
            <p:cNvPr id="157" name="Frihåndsform: figur 156">
              <a:extLst>
                <a:ext uri="{FF2B5EF4-FFF2-40B4-BE49-F238E27FC236}">
                  <a16:creationId xmlns:a16="http://schemas.microsoft.com/office/drawing/2014/main" id="{A4C224A1-1200-4309-9301-3CCA26588897}"/>
                </a:ext>
              </a:extLst>
            </p:cNvPr>
            <p:cNvSpPr/>
            <p:nvPr/>
          </p:nvSpPr>
          <p:spPr>
            <a:xfrm>
              <a:off x="3937666" y="2533562"/>
              <a:ext cx="1105788" cy="1105788"/>
            </a:xfrm>
            <a:custGeom>
              <a:avLst/>
              <a:gdLst>
                <a:gd name="connsiteX0" fmla="*/ 169046 w 1105787"/>
                <a:gd name="connsiteY0" fmla="*/ 169132 h 1105787"/>
                <a:gd name="connsiteX1" fmla="*/ 169132 w 1105787"/>
                <a:gd name="connsiteY1" fmla="*/ 939538 h 1105787"/>
                <a:gd name="connsiteX2" fmla="*/ 939538 w 1105787"/>
                <a:gd name="connsiteY2" fmla="*/ 939452 h 1105787"/>
                <a:gd name="connsiteX3" fmla="*/ 939538 w 1105787"/>
                <a:gd name="connsiteY3" fmla="*/ 169132 h 1105787"/>
                <a:gd name="connsiteX4" fmla="*/ 169132 w 1105787"/>
                <a:gd name="connsiteY4" fmla="*/ 169046 h 1105787"/>
                <a:gd name="connsiteX5" fmla="*/ 169046 w 1105787"/>
                <a:gd name="connsiteY5" fmla="*/ 169132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169046" y="169132"/>
                  </a:moveTo>
                  <a:cubicBezTo>
                    <a:pt x="-43672" y="381898"/>
                    <a:pt x="-43633" y="726820"/>
                    <a:pt x="169132" y="939538"/>
                  </a:cubicBezTo>
                  <a:cubicBezTo>
                    <a:pt x="381898" y="1152256"/>
                    <a:pt x="726821" y="1152217"/>
                    <a:pt x="939538" y="939452"/>
                  </a:cubicBezTo>
                  <a:cubicBezTo>
                    <a:pt x="1152223" y="726720"/>
                    <a:pt x="1152223" y="381864"/>
                    <a:pt x="939538" y="169132"/>
                  </a:cubicBezTo>
                  <a:cubicBezTo>
                    <a:pt x="726821" y="-43633"/>
                    <a:pt x="381898" y="-43672"/>
                    <a:pt x="169132" y="169046"/>
                  </a:cubicBezTo>
                  <a:cubicBezTo>
                    <a:pt x="169104" y="169075"/>
                    <a:pt x="169075" y="169103"/>
                    <a:pt x="169046" y="169132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58" name="Frihåndsform: figur 157">
              <a:extLst>
                <a:ext uri="{FF2B5EF4-FFF2-40B4-BE49-F238E27FC236}">
                  <a16:creationId xmlns:a16="http://schemas.microsoft.com/office/drawing/2014/main" id="{B88B54D8-0393-450C-91EF-2E564D82E5BE}"/>
                </a:ext>
              </a:extLst>
            </p:cNvPr>
            <p:cNvSpPr/>
            <p:nvPr/>
          </p:nvSpPr>
          <p:spPr>
            <a:xfrm>
              <a:off x="5222286" y="1074263"/>
              <a:ext cx="1105788" cy="1105788"/>
            </a:xfrm>
            <a:custGeom>
              <a:avLst/>
              <a:gdLst>
                <a:gd name="connsiteX0" fmla="*/ 554419 w 1105787"/>
                <a:gd name="connsiteY0" fmla="*/ 1099306 h 1105787"/>
                <a:gd name="connsiteX1" fmla="*/ 1099305 w 1105787"/>
                <a:gd name="connsiteY1" fmla="*/ 554419 h 1105787"/>
                <a:gd name="connsiteX2" fmla="*/ 554419 w 1105787"/>
                <a:gd name="connsiteY2" fmla="*/ 9533 h 1105787"/>
                <a:gd name="connsiteX3" fmla="*/ 9533 w 1105787"/>
                <a:gd name="connsiteY3" fmla="*/ 554419 h 1105787"/>
                <a:gd name="connsiteX4" fmla="*/ 9533 w 1105787"/>
                <a:gd name="connsiteY4" fmla="*/ 554546 h 1105787"/>
                <a:gd name="connsiteX5" fmla="*/ 554292 w 1105787"/>
                <a:gd name="connsiteY5" fmla="*/ 1099306 h 1105787"/>
                <a:gd name="connsiteX6" fmla="*/ 554419 w 1105787"/>
                <a:gd name="connsiteY6" fmla="*/ 1099306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5787" h="1105787">
                  <a:moveTo>
                    <a:pt x="554419" y="1099306"/>
                  </a:moveTo>
                  <a:cubicBezTo>
                    <a:pt x="855352" y="1099306"/>
                    <a:pt x="1099305" y="855352"/>
                    <a:pt x="1099305" y="554419"/>
                  </a:cubicBezTo>
                  <a:cubicBezTo>
                    <a:pt x="1099305" y="253487"/>
                    <a:pt x="855352" y="9533"/>
                    <a:pt x="554419" y="9533"/>
                  </a:cubicBezTo>
                  <a:cubicBezTo>
                    <a:pt x="253487" y="9533"/>
                    <a:pt x="9533" y="253487"/>
                    <a:pt x="9533" y="554419"/>
                  </a:cubicBezTo>
                  <a:cubicBezTo>
                    <a:pt x="9533" y="554462"/>
                    <a:pt x="9533" y="554504"/>
                    <a:pt x="9533" y="554546"/>
                  </a:cubicBezTo>
                  <a:cubicBezTo>
                    <a:pt x="9533" y="855408"/>
                    <a:pt x="253430" y="1099306"/>
                    <a:pt x="554292" y="1099306"/>
                  </a:cubicBezTo>
                  <a:cubicBezTo>
                    <a:pt x="554334" y="1099306"/>
                    <a:pt x="554376" y="1099306"/>
                    <a:pt x="554419" y="1099306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tx1"/>
                  </a:solidFill>
                </a:rPr>
                <a:t>Tekst</a:t>
              </a:r>
            </a:p>
          </p:txBody>
        </p:sp>
        <p:sp>
          <p:nvSpPr>
            <p:cNvPr id="159" name="Frihåndsform: figur 158">
              <a:extLst>
                <a:ext uri="{FF2B5EF4-FFF2-40B4-BE49-F238E27FC236}">
                  <a16:creationId xmlns:a16="http://schemas.microsoft.com/office/drawing/2014/main" id="{2318BB0A-486F-44EB-A963-3B44E1E449BB}"/>
                </a:ext>
              </a:extLst>
            </p:cNvPr>
            <p:cNvSpPr/>
            <p:nvPr/>
          </p:nvSpPr>
          <p:spPr>
            <a:xfrm>
              <a:off x="5222286" y="2533394"/>
              <a:ext cx="1105788" cy="1105788"/>
            </a:xfrm>
            <a:custGeom>
              <a:avLst/>
              <a:gdLst>
                <a:gd name="connsiteX0" fmla="*/ 554419 w 1105787"/>
                <a:gd name="connsiteY0" fmla="*/ 1099306 h 1105787"/>
                <a:gd name="connsiteX1" fmla="*/ 1099305 w 1105787"/>
                <a:gd name="connsiteY1" fmla="*/ 554419 h 1105787"/>
                <a:gd name="connsiteX2" fmla="*/ 554419 w 1105787"/>
                <a:gd name="connsiteY2" fmla="*/ 9533 h 1105787"/>
                <a:gd name="connsiteX3" fmla="*/ 9533 w 1105787"/>
                <a:gd name="connsiteY3" fmla="*/ 554419 h 1105787"/>
                <a:gd name="connsiteX4" fmla="*/ 554292 w 1105787"/>
                <a:gd name="connsiteY4" fmla="*/ 1099179 h 1105787"/>
                <a:gd name="connsiteX5" fmla="*/ 554419 w 1105787"/>
                <a:gd name="connsiteY5" fmla="*/ 1099179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554419" y="1099306"/>
                  </a:moveTo>
                  <a:cubicBezTo>
                    <a:pt x="855352" y="1099306"/>
                    <a:pt x="1099305" y="855352"/>
                    <a:pt x="1099305" y="554419"/>
                  </a:cubicBezTo>
                  <a:cubicBezTo>
                    <a:pt x="1099305" y="253487"/>
                    <a:pt x="855352" y="9533"/>
                    <a:pt x="554419" y="9533"/>
                  </a:cubicBezTo>
                  <a:cubicBezTo>
                    <a:pt x="253487" y="9533"/>
                    <a:pt x="9533" y="253487"/>
                    <a:pt x="9533" y="554419"/>
                  </a:cubicBezTo>
                  <a:cubicBezTo>
                    <a:pt x="9533" y="855281"/>
                    <a:pt x="253430" y="1099179"/>
                    <a:pt x="554292" y="1099179"/>
                  </a:cubicBezTo>
                  <a:cubicBezTo>
                    <a:pt x="554334" y="1099179"/>
                    <a:pt x="554376" y="1099179"/>
                    <a:pt x="554419" y="1099179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60" name="Frihåndsform: figur 159">
              <a:extLst>
                <a:ext uri="{FF2B5EF4-FFF2-40B4-BE49-F238E27FC236}">
                  <a16:creationId xmlns:a16="http://schemas.microsoft.com/office/drawing/2014/main" id="{CF50FD6A-3E61-4B2B-A714-C7F07065E093}"/>
                </a:ext>
              </a:extLst>
            </p:cNvPr>
            <p:cNvSpPr/>
            <p:nvPr/>
          </p:nvSpPr>
          <p:spPr>
            <a:xfrm>
              <a:off x="6506907" y="1070087"/>
              <a:ext cx="1105788" cy="1105788"/>
            </a:xfrm>
            <a:custGeom>
              <a:avLst/>
              <a:gdLst>
                <a:gd name="connsiteX0" fmla="*/ 169173 w 1105787"/>
                <a:gd name="connsiteY0" fmla="*/ 169027 h 1105787"/>
                <a:gd name="connsiteX1" fmla="*/ 169080 w 1105787"/>
                <a:gd name="connsiteY1" fmla="*/ 939613 h 1105787"/>
                <a:gd name="connsiteX2" fmla="*/ 939666 w 1105787"/>
                <a:gd name="connsiteY2" fmla="*/ 939706 h 1105787"/>
                <a:gd name="connsiteX3" fmla="*/ 939759 w 1105787"/>
                <a:gd name="connsiteY3" fmla="*/ 169120 h 1105787"/>
                <a:gd name="connsiteX4" fmla="*/ 939666 w 1105787"/>
                <a:gd name="connsiteY4" fmla="*/ 169027 h 1105787"/>
                <a:gd name="connsiteX5" fmla="*/ 169173 w 1105787"/>
                <a:gd name="connsiteY5" fmla="*/ 169027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169173" y="169027"/>
                  </a:moveTo>
                  <a:cubicBezTo>
                    <a:pt x="-43644" y="381793"/>
                    <a:pt x="-43686" y="726796"/>
                    <a:pt x="169080" y="939613"/>
                  </a:cubicBezTo>
                  <a:cubicBezTo>
                    <a:pt x="381845" y="1152430"/>
                    <a:pt x="726849" y="1152472"/>
                    <a:pt x="939666" y="939706"/>
                  </a:cubicBezTo>
                  <a:cubicBezTo>
                    <a:pt x="1152483" y="726940"/>
                    <a:pt x="1152525" y="381937"/>
                    <a:pt x="939759" y="169120"/>
                  </a:cubicBezTo>
                  <a:cubicBezTo>
                    <a:pt x="939728" y="169089"/>
                    <a:pt x="939697" y="169058"/>
                    <a:pt x="939666" y="169027"/>
                  </a:cubicBezTo>
                  <a:cubicBezTo>
                    <a:pt x="726856" y="-43632"/>
                    <a:pt x="381983" y="-43632"/>
                    <a:pt x="169173" y="169027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tx1"/>
                  </a:solidFill>
                </a:rPr>
                <a:t>Tekst</a:t>
              </a:r>
            </a:p>
          </p:txBody>
        </p:sp>
        <p:sp>
          <p:nvSpPr>
            <p:cNvPr id="161" name="Frihåndsform: figur 160">
              <a:extLst>
                <a:ext uri="{FF2B5EF4-FFF2-40B4-BE49-F238E27FC236}">
                  <a16:creationId xmlns:a16="http://schemas.microsoft.com/office/drawing/2014/main" id="{DDF5030B-B7E9-44D5-9FCA-CE680C9CA4C5}"/>
                </a:ext>
              </a:extLst>
            </p:cNvPr>
            <p:cNvSpPr/>
            <p:nvPr/>
          </p:nvSpPr>
          <p:spPr>
            <a:xfrm>
              <a:off x="6507034" y="2529240"/>
              <a:ext cx="1105788" cy="1105788"/>
            </a:xfrm>
            <a:custGeom>
              <a:avLst/>
              <a:gdLst>
                <a:gd name="connsiteX0" fmla="*/ 169046 w 1105787"/>
                <a:gd name="connsiteY0" fmla="*/ 169132 h 1105787"/>
                <a:gd name="connsiteX1" fmla="*/ 169132 w 1105787"/>
                <a:gd name="connsiteY1" fmla="*/ 939538 h 1105787"/>
                <a:gd name="connsiteX2" fmla="*/ 939538 w 1105787"/>
                <a:gd name="connsiteY2" fmla="*/ 939452 h 1105787"/>
                <a:gd name="connsiteX3" fmla="*/ 939538 w 1105787"/>
                <a:gd name="connsiteY3" fmla="*/ 169132 h 1105787"/>
                <a:gd name="connsiteX4" fmla="*/ 169132 w 1105787"/>
                <a:gd name="connsiteY4" fmla="*/ 169046 h 1105787"/>
                <a:gd name="connsiteX5" fmla="*/ 169046 w 1105787"/>
                <a:gd name="connsiteY5" fmla="*/ 169132 h 1105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5787" h="1105787">
                  <a:moveTo>
                    <a:pt x="169046" y="169132"/>
                  </a:moveTo>
                  <a:cubicBezTo>
                    <a:pt x="-43672" y="381898"/>
                    <a:pt x="-43633" y="726820"/>
                    <a:pt x="169132" y="939538"/>
                  </a:cubicBezTo>
                  <a:cubicBezTo>
                    <a:pt x="381898" y="1152256"/>
                    <a:pt x="726820" y="1152217"/>
                    <a:pt x="939538" y="939452"/>
                  </a:cubicBezTo>
                  <a:cubicBezTo>
                    <a:pt x="1152222" y="726720"/>
                    <a:pt x="1152222" y="381864"/>
                    <a:pt x="939538" y="169132"/>
                  </a:cubicBezTo>
                  <a:cubicBezTo>
                    <a:pt x="726820" y="-43633"/>
                    <a:pt x="381898" y="-43672"/>
                    <a:pt x="169132" y="169046"/>
                  </a:cubicBezTo>
                  <a:cubicBezTo>
                    <a:pt x="169104" y="169075"/>
                    <a:pt x="169074" y="169103"/>
                    <a:pt x="169046" y="169132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>
                  <a:solidFill>
                    <a:schemeClr val="bg1"/>
                  </a:solidFill>
                </a:rPr>
                <a:t>Tekst</a:t>
              </a:r>
            </a:p>
          </p:txBody>
        </p:sp>
      </p:grpSp>
      <p:grpSp>
        <p:nvGrpSpPr>
          <p:cNvPr id="162" name="i40" hidden="1">
            <a:extLst>
              <a:ext uri="{FF2B5EF4-FFF2-40B4-BE49-F238E27FC236}">
                <a16:creationId xmlns:a16="http://schemas.microsoft.com/office/drawing/2014/main" id="{E6A50599-61FB-4416-AFA8-17A7AC53C3BC}"/>
              </a:ext>
            </a:extLst>
          </p:cNvPr>
          <p:cNvGrpSpPr/>
          <p:nvPr userDrawn="1"/>
        </p:nvGrpSpPr>
        <p:grpSpPr>
          <a:xfrm>
            <a:off x="1110292" y="3398163"/>
            <a:ext cx="14033830" cy="2350501"/>
            <a:chOff x="967559" y="249842"/>
            <a:chExt cx="7894800" cy="1322157"/>
          </a:xfrm>
        </p:grpSpPr>
        <p:sp>
          <p:nvSpPr>
            <p:cNvPr id="163" name="Frihåndsform: figur 162">
              <a:extLst>
                <a:ext uri="{FF2B5EF4-FFF2-40B4-BE49-F238E27FC236}">
                  <a16:creationId xmlns:a16="http://schemas.microsoft.com/office/drawing/2014/main" id="{2E4D084F-8BEB-41DE-8F51-BC9E9BF8693C}"/>
                </a:ext>
              </a:extLst>
            </p:cNvPr>
            <p:cNvSpPr/>
            <p:nvPr/>
          </p:nvSpPr>
          <p:spPr>
            <a:xfrm>
              <a:off x="957961" y="240258"/>
              <a:ext cx="1334870" cy="1334870"/>
            </a:xfrm>
            <a:custGeom>
              <a:avLst/>
              <a:gdLst>
                <a:gd name="connsiteX0" fmla="*/ 1135211 w 1334869"/>
                <a:gd name="connsiteY0" fmla="*/ 202695 h 1334870"/>
                <a:gd name="connsiteX1" fmla="*/ 1135278 w 1334869"/>
                <a:gd name="connsiteY1" fmla="*/ 1135264 h 1334870"/>
                <a:gd name="connsiteX2" fmla="*/ 202709 w 1334869"/>
                <a:gd name="connsiteY2" fmla="*/ 1135331 h 1334870"/>
                <a:gd name="connsiteX3" fmla="*/ 202643 w 1334869"/>
                <a:gd name="connsiteY3" fmla="*/ 202762 h 1334870"/>
                <a:gd name="connsiteX4" fmla="*/ 202709 w 1334869"/>
                <a:gd name="connsiteY4" fmla="*/ 202695 h 1334870"/>
                <a:gd name="connsiteX5" fmla="*/ 1135098 w 1334869"/>
                <a:gd name="connsiteY5" fmla="*/ 202582 h 1334870"/>
                <a:gd name="connsiteX6" fmla="*/ 1135211 w 1334869"/>
                <a:gd name="connsiteY6" fmla="*/ 202695 h 133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4869" h="1334870">
                  <a:moveTo>
                    <a:pt x="1135211" y="202695"/>
                  </a:moveTo>
                  <a:cubicBezTo>
                    <a:pt x="1392751" y="460199"/>
                    <a:pt x="1392781" y="877724"/>
                    <a:pt x="1135278" y="1135264"/>
                  </a:cubicBezTo>
                  <a:cubicBezTo>
                    <a:pt x="877775" y="1392805"/>
                    <a:pt x="460250" y="1392835"/>
                    <a:pt x="202709" y="1135331"/>
                  </a:cubicBezTo>
                  <a:cubicBezTo>
                    <a:pt x="-54831" y="877828"/>
                    <a:pt x="-54861" y="460303"/>
                    <a:pt x="202643" y="202762"/>
                  </a:cubicBezTo>
                  <a:cubicBezTo>
                    <a:pt x="202665" y="202740"/>
                    <a:pt x="202687" y="202718"/>
                    <a:pt x="202709" y="202695"/>
                  </a:cubicBezTo>
                  <a:cubicBezTo>
                    <a:pt x="460150" y="-54808"/>
                    <a:pt x="877595" y="-54859"/>
                    <a:pt x="1135098" y="202582"/>
                  </a:cubicBezTo>
                  <a:cubicBezTo>
                    <a:pt x="1135136" y="202620"/>
                    <a:pt x="1135174" y="202658"/>
                    <a:pt x="1135211" y="202695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 b="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64" name="Frihåndsform: figur 163">
              <a:extLst>
                <a:ext uri="{FF2B5EF4-FFF2-40B4-BE49-F238E27FC236}">
                  <a16:creationId xmlns:a16="http://schemas.microsoft.com/office/drawing/2014/main" id="{D90A56F9-280C-4A02-B084-F199B98DD719}"/>
                </a:ext>
              </a:extLst>
            </p:cNvPr>
            <p:cNvSpPr/>
            <p:nvPr/>
          </p:nvSpPr>
          <p:spPr>
            <a:xfrm>
              <a:off x="2603791" y="240363"/>
              <a:ext cx="1334870" cy="1334870"/>
            </a:xfrm>
            <a:custGeom>
              <a:avLst/>
              <a:gdLst>
                <a:gd name="connsiteX0" fmla="*/ 1135211 w 1334869"/>
                <a:gd name="connsiteY0" fmla="*/ 202590 h 1334870"/>
                <a:gd name="connsiteX1" fmla="*/ 1135278 w 1334869"/>
                <a:gd name="connsiteY1" fmla="*/ 1135159 h 1334870"/>
                <a:gd name="connsiteX2" fmla="*/ 202710 w 1334869"/>
                <a:gd name="connsiteY2" fmla="*/ 1135226 h 1334870"/>
                <a:gd name="connsiteX3" fmla="*/ 202643 w 1334869"/>
                <a:gd name="connsiteY3" fmla="*/ 202657 h 1334870"/>
                <a:gd name="connsiteX4" fmla="*/ 202710 w 1334869"/>
                <a:gd name="connsiteY4" fmla="*/ 202590 h 1334870"/>
                <a:gd name="connsiteX5" fmla="*/ 1135211 w 1334869"/>
                <a:gd name="connsiteY5" fmla="*/ 202590 h 133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4869" h="1334870">
                  <a:moveTo>
                    <a:pt x="1135211" y="202590"/>
                  </a:moveTo>
                  <a:cubicBezTo>
                    <a:pt x="1392751" y="460093"/>
                    <a:pt x="1392781" y="877619"/>
                    <a:pt x="1135278" y="1135159"/>
                  </a:cubicBezTo>
                  <a:cubicBezTo>
                    <a:pt x="877775" y="1392699"/>
                    <a:pt x="460250" y="1392729"/>
                    <a:pt x="202710" y="1135226"/>
                  </a:cubicBezTo>
                  <a:cubicBezTo>
                    <a:pt x="-54831" y="877723"/>
                    <a:pt x="-54861" y="460197"/>
                    <a:pt x="202643" y="202657"/>
                  </a:cubicBezTo>
                  <a:cubicBezTo>
                    <a:pt x="202665" y="202635"/>
                    <a:pt x="202687" y="202612"/>
                    <a:pt x="202710" y="202590"/>
                  </a:cubicBezTo>
                  <a:cubicBezTo>
                    <a:pt x="460253" y="-54817"/>
                    <a:pt x="877668" y="-54817"/>
                    <a:pt x="1135211" y="202590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 b="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65" name="Frihåndsform: figur 164">
              <a:extLst>
                <a:ext uri="{FF2B5EF4-FFF2-40B4-BE49-F238E27FC236}">
                  <a16:creationId xmlns:a16="http://schemas.microsoft.com/office/drawing/2014/main" id="{BA191AA5-5E9A-4D39-92C3-5183DC39B17F}"/>
                </a:ext>
              </a:extLst>
            </p:cNvPr>
            <p:cNvSpPr/>
            <p:nvPr/>
          </p:nvSpPr>
          <p:spPr>
            <a:xfrm>
              <a:off x="4248223" y="240258"/>
              <a:ext cx="1334870" cy="1334870"/>
            </a:xfrm>
            <a:custGeom>
              <a:avLst/>
              <a:gdLst>
                <a:gd name="connsiteX0" fmla="*/ 1135211 w 1334869"/>
                <a:gd name="connsiteY0" fmla="*/ 202695 h 1334870"/>
                <a:gd name="connsiteX1" fmla="*/ 1135278 w 1334869"/>
                <a:gd name="connsiteY1" fmla="*/ 1135264 h 1334870"/>
                <a:gd name="connsiteX2" fmla="*/ 202709 w 1334869"/>
                <a:gd name="connsiteY2" fmla="*/ 1135331 h 1334870"/>
                <a:gd name="connsiteX3" fmla="*/ 202643 w 1334869"/>
                <a:gd name="connsiteY3" fmla="*/ 202762 h 1334870"/>
                <a:gd name="connsiteX4" fmla="*/ 202709 w 1334869"/>
                <a:gd name="connsiteY4" fmla="*/ 202695 h 1334870"/>
                <a:gd name="connsiteX5" fmla="*/ 1135098 w 1334869"/>
                <a:gd name="connsiteY5" fmla="*/ 202582 h 1334870"/>
                <a:gd name="connsiteX6" fmla="*/ 1135211 w 1334869"/>
                <a:gd name="connsiteY6" fmla="*/ 202695 h 133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4869" h="1334870">
                  <a:moveTo>
                    <a:pt x="1135211" y="202695"/>
                  </a:moveTo>
                  <a:cubicBezTo>
                    <a:pt x="1392751" y="460199"/>
                    <a:pt x="1392782" y="877724"/>
                    <a:pt x="1135278" y="1135264"/>
                  </a:cubicBezTo>
                  <a:cubicBezTo>
                    <a:pt x="877775" y="1392805"/>
                    <a:pt x="460249" y="1392835"/>
                    <a:pt x="202709" y="1135331"/>
                  </a:cubicBezTo>
                  <a:cubicBezTo>
                    <a:pt x="-54831" y="877828"/>
                    <a:pt x="-54861" y="460303"/>
                    <a:pt x="202643" y="202762"/>
                  </a:cubicBezTo>
                  <a:cubicBezTo>
                    <a:pt x="202665" y="202740"/>
                    <a:pt x="202687" y="202718"/>
                    <a:pt x="202709" y="202695"/>
                  </a:cubicBezTo>
                  <a:cubicBezTo>
                    <a:pt x="460150" y="-54808"/>
                    <a:pt x="877595" y="-54859"/>
                    <a:pt x="1135098" y="202582"/>
                  </a:cubicBezTo>
                  <a:cubicBezTo>
                    <a:pt x="1135136" y="202620"/>
                    <a:pt x="1135174" y="202658"/>
                    <a:pt x="1135211" y="202695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 b="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66" name="Frihåndsform: figur 165">
              <a:extLst>
                <a:ext uri="{FF2B5EF4-FFF2-40B4-BE49-F238E27FC236}">
                  <a16:creationId xmlns:a16="http://schemas.microsoft.com/office/drawing/2014/main" id="{4E5DB3B1-7EEB-4643-8312-3AF3FA1E9E2D}"/>
                </a:ext>
              </a:extLst>
            </p:cNvPr>
            <p:cNvSpPr/>
            <p:nvPr/>
          </p:nvSpPr>
          <p:spPr>
            <a:xfrm>
              <a:off x="5893355" y="240300"/>
              <a:ext cx="1334870" cy="1334870"/>
            </a:xfrm>
            <a:custGeom>
              <a:avLst/>
              <a:gdLst>
                <a:gd name="connsiteX0" fmla="*/ 1135275 w 1334869"/>
                <a:gd name="connsiteY0" fmla="*/ 202654 h 1334870"/>
                <a:gd name="connsiteX1" fmla="*/ 1135214 w 1334869"/>
                <a:gd name="connsiteY1" fmla="*/ 1135223 h 1334870"/>
                <a:gd name="connsiteX2" fmla="*/ 202646 w 1334869"/>
                <a:gd name="connsiteY2" fmla="*/ 1135162 h 1334870"/>
                <a:gd name="connsiteX3" fmla="*/ 202646 w 1334869"/>
                <a:gd name="connsiteY3" fmla="*/ 202654 h 1334870"/>
                <a:gd name="connsiteX4" fmla="*/ 1135275 w 1334869"/>
                <a:gd name="connsiteY4" fmla="*/ 202654 h 133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4869" h="1334870">
                  <a:moveTo>
                    <a:pt x="1135275" y="202654"/>
                  </a:moveTo>
                  <a:cubicBezTo>
                    <a:pt x="1392780" y="460192"/>
                    <a:pt x="1392753" y="877717"/>
                    <a:pt x="1135214" y="1135223"/>
                  </a:cubicBezTo>
                  <a:cubicBezTo>
                    <a:pt x="877676" y="1392728"/>
                    <a:pt x="460151" y="1392701"/>
                    <a:pt x="202646" y="1135162"/>
                  </a:cubicBezTo>
                  <a:cubicBezTo>
                    <a:pt x="-54836" y="877647"/>
                    <a:pt x="-54836" y="460169"/>
                    <a:pt x="202646" y="202654"/>
                  </a:cubicBezTo>
                  <a:cubicBezTo>
                    <a:pt x="460204" y="-54838"/>
                    <a:pt x="877717" y="-54838"/>
                    <a:pt x="1135275" y="202654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 b="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67" name="Frihåndsform: figur 166">
              <a:extLst>
                <a:ext uri="{FF2B5EF4-FFF2-40B4-BE49-F238E27FC236}">
                  <a16:creationId xmlns:a16="http://schemas.microsoft.com/office/drawing/2014/main" id="{EC107650-4A8E-46A4-BCDB-AABF72E53E18}"/>
                </a:ext>
              </a:extLst>
            </p:cNvPr>
            <p:cNvSpPr/>
            <p:nvPr/>
          </p:nvSpPr>
          <p:spPr>
            <a:xfrm>
              <a:off x="7538485" y="240258"/>
              <a:ext cx="1334870" cy="1334870"/>
            </a:xfrm>
            <a:custGeom>
              <a:avLst/>
              <a:gdLst>
                <a:gd name="connsiteX0" fmla="*/ 1135212 w 1334869"/>
                <a:gd name="connsiteY0" fmla="*/ 202695 h 1334870"/>
                <a:gd name="connsiteX1" fmla="*/ 1135278 w 1334869"/>
                <a:gd name="connsiteY1" fmla="*/ 1135264 h 1334870"/>
                <a:gd name="connsiteX2" fmla="*/ 202709 w 1334869"/>
                <a:gd name="connsiteY2" fmla="*/ 1135331 h 1334870"/>
                <a:gd name="connsiteX3" fmla="*/ 202643 w 1334869"/>
                <a:gd name="connsiteY3" fmla="*/ 202762 h 1334870"/>
                <a:gd name="connsiteX4" fmla="*/ 202709 w 1334869"/>
                <a:gd name="connsiteY4" fmla="*/ 202695 h 1334870"/>
                <a:gd name="connsiteX5" fmla="*/ 1135098 w 1334869"/>
                <a:gd name="connsiteY5" fmla="*/ 202582 h 1334870"/>
                <a:gd name="connsiteX6" fmla="*/ 1135212 w 1334869"/>
                <a:gd name="connsiteY6" fmla="*/ 202695 h 1334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4869" h="1334870">
                  <a:moveTo>
                    <a:pt x="1135212" y="202695"/>
                  </a:moveTo>
                  <a:cubicBezTo>
                    <a:pt x="1392752" y="460199"/>
                    <a:pt x="1392782" y="877724"/>
                    <a:pt x="1135278" y="1135264"/>
                  </a:cubicBezTo>
                  <a:cubicBezTo>
                    <a:pt x="877775" y="1392805"/>
                    <a:pt x="460250" y="1392835"/>
                    <a:pt x="202709" y="1135331"/>
                  </a:cubicBezTo>
                  <a:cubicBezTo>
                    <a:pt x="-54831" y="877828"/>
                    <a:pt x="-54861" y="460303"/>
                    <a:pt x="202643" y="202762"/>
                  </a:cubicBezTo>
                  <a:cubicBezTo>
                    <a:pt x="202665" y="202740"/>
                    <a:pt x="202687" y="202718"/>
                    <a:pt x="202709" y="202695"/>
                  </a:cubicBezTo>
                  <a:cubicBezTo>
                    <a:pt x="460150" y="-54808"/>
                    <a:pt x="877595" y="-54859"/>
                    <a:pt x="1135098" y="202582"/>
                  </a:cubicBezTo>
                  <a:cubicBezTo>
                    <a:pt x="1135136" y="202620"/>
                    <a:pt x="1135174" y="202658"/>
                    <a:pt x="1135212" y="202695"/>
                  </a:cubicBezTo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311" b="1">
                  <a:solidFill>
                    <a:schemeClr val="bg1"/>
                  </a:solidFill>
                </a:rPr>
                <a:t>Tekst</a:t>
              </a:r>
            </a:p>
          </p:txBody>
        </p:sp>
      </p:grpSp>
      <p:grpSp>
        <p:nvGrpSpPr>
          <p:cNvPr id="168" name="i41" hidden="1">
            <a:extLst>
              <a:ext uri="{FF2B5EF4-FFF2-40B4-BE49-F238E27FC236}">
                <a16:creationId xmlns:a16="http://schemas.microsoft.com/office/drawing/2014/main" id="{5334D009-9CD1-4DDA-B1CE-B8AB525A98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882724" y="1294696"/>
            <a:ext cx="6488966" cy="6557435"/>
            <a:chOff x="2547937" y="534194"/>
            <a:chExt cx="3650400" cy="3688557"/>
          </a:xfrm>
        </p:grpSpPr>
        <p:sp>
          <p:nvSpPr>
            <p:cNvPr id="169" name="Frihåndsform: figur 168">
              <a:extLst>
                <a:ext uri="{FF2B5EF4-FFF2-40B4-BE49-F238E27FC236}">
                  <a16:creationId xmlns:a16="http://schemas.microsoft.com/office/drawing/2014/main" id="{F5E9E391-13F5-4A1F-8B2C-038370AF25E6}"/>
                </a:ext>
              </a:extLst>
            </p:cNvPr>
            <p:cNvSpPr/>
            <p:nvPr/>
          </p:nvSpPr>
          <p:spPr>
            <a:xfrm>
              <a:off x="3539014" y="1556815"/>
              <a:ext cx="1628053" cy="1628053"/>
            </a:xfrm>
            <a:custGeom>
              <a:avLst/>
              <a:gdLst>
                <a:gd name="connsiteX0" fmla="*/ 819750 w 1628052"/>
                <a:gd name="connsiteY0" fmla="*/ 1629961 h 1628052"/>
                <a:gd name="connsiteX1" fmla="*/ 1629961 w 1628052"/>
                <a:gd name="connsiteY1" fmla="*/ 819750 h 1628052"/>
                <a:gd name="connsiteX2" fmla="*/ 819750 w 1628052"/>
                <a:gd name="connsiteY2" fmla="*/ 9539 h 1628052"/>
                <a:gd name="connsiteX3" fmla="*/ 9539 w 1628052"/>
                <a:gd name="connsiteY3" fmla="*/ 819750 h 1628052"/>
                <a:gd name="connsiteX4" fmla="*/ 819750 w 1628052"/>
                <a:gd name="connsiteY4" fmla="*/ 1629961 h 1628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8052" h="1628052">
                  <a:moveTo>
                    <a:pt x="819750" y="1629961"/>
                  </a:moveTo>
                  <a:cubicBezTo>
                    <a:pt x="1267223" y="1629961"/>
                    <a:pt x="1629961" y="1267223"/>
                    <a:pt x="1629961" y="819750"/>
                  </a:cubicBezTo>
                  <a:cubicBezTo>
                    <a:pt x="1629961" y="372277"/>
                    <a:pt x="1267223" y="9539"/>
                    <a:pt x="819750" y="9539"/>
                  </a:cubicBezTo>
                  <a:cubicBezTo>
                    <a:pt x="372277" y="9539"/>
                    <a:pt x="9539" y="372277"/>
                    <a:pt x="9539" y="819750"/>
                  </a:cubicBezTo>
                  <a:cubicBezTo>
                    <a:pt x="9539" y="1267223"/>
                    <a:pt x="372277" y="1629961"/>
                    <a:pt x="819750" y="1629961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844" b="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70" name="Frihåndsform: figur 169">
              <a:extLst>
                <a:ext uri="{FF2B5EF4-FFF2-40B4-BE49-F238E27FC236}">
                  <a16:creationId xmlns:a16="http://schemas.microsoft.com/office/drawing/2014/main" id="{8D23B4F7-CD15-4F53-8DED-E987952F0121}"/>
                </a:ext>
              </a:extLst>
            </p:cNvPr>
            <p:cNvSpPr/>
            <p:nvPr/>
          </p:nvSpPr>
          <p:spPr>
            <a:xfrm>
              <a:off x="3904054" y="523764"/>
              <a:ext cx="903061" cy="903061"/>
            </a:xfrm>
            <a:custGeom>
              <a:avLst/>
              <a:gdLst>
                <a:gd name="connsiteX0" fmla="*/ 454710 w 903060"/>
                <a:gd name="connsiteY0" fmla="*/ 899881 h 903060"/>
                <a:gd name="connsiteX1" fmla="*/ 899881 w 903060"/>
                <a:gd name="connsiteY1" fmla="*/ 454710 h 903060"/>
                <a:gd name="connsiteX2" fmla="*/ 454710 w 903060"/>
                <a:gd name="connsiteY2" fmla="*/ 9539 h 903060"/>
                <a:gd name="connsiteX3" fmla="*/ 9539 w 903060"/>
                <a:gd name="connsiteY3" fmla="*/ 454710 h 903060"/>
                <a:gd name="connsiteX4" fmla="*/ 454710 w 903060"/>
                <a:gd name="connsiteY4" fmla="*/ 899881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060" h="903060">
                  <a:moveTo>
                    <a:pt x="454710" y="899881"/>
                  </a:moveTo>
                  <a:cubicBezTo>
                    <a:pt x="700571" y="899881"/>
                    <a:pt x="899881" y="700571"/>
                    <a:pt x="899881" y="454710"/>
                  </a:cubicBezTo>
                  <a:cubicBezTo>
                    <a:pt x="899881" y="208849"/>
                    <a:pt x="700571" y="9539"/>
                    <a:pt x="454710" y="9539"/>
                  </a:cubicBezTo>
                  <a:cubicBezTo>
                    <a:pt x="208849" y="9539"/>
                    <a:pt x="9539" y="208849"/>
                    <a:pt x="9539" y="454710"/>
                  </a:cubicBezTo>
                  <a:cubicBezTo>
                    <a:pt x="9539" y="700571"/>
                    <a:pt x="208849" y="899881"/>
                    <a:pt x="454710" y="899881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1" name="Frihåndsform: figur 170">
              <a:extLst>
                <a:ext uri="{FF2B5EF4-FFF2-40B4-BE49-F238E27FC236}">
                  <a16:creationId xmlns:a16="http://schemas.microsoft.com/office/drawing/2014/main" id="{18362308-E885-41DF-BD3F-9C1DFB42F0D5}"/>
                </a:ext>
              </a:extLst>
            </p:cNvPr>
            <p:cNvSpPr/>
            <p:nvPr/>
          </p:nvSpPr>
          <p:spPr>
            <a:xfrm>
              <a:off x="5302145" y="1905447"/>
              <a:ext cx="903061" cy="903061"/>
            </a:xfrm>
            <a:custGeom>
              <a:avLst/>
              <a:gdLst>
                <a:gd name="connsiteX0" fmla="*/ 9539 w 903060"/>
                <a:gd name="connsiteY0" fmla="*/ 454710 h 903060"/>
                <a:gd name="connsiteX1" fmla="*/ 454710 w 903060"/>
                <a:gd name="connsiteY1" fmla="*/ 899881 h 903060"/>
                <a:gd name="connsiteX2" fmla="*/ 899881 w 903060"/>
                <a:gd name="connsiteY2" fmla="*/ 454710 h 903060"/>
                <a:gd name="connsiteX3" fmla="*/ 454710 w 903060"/>
                <a:gd name="connsiteY3" fmla="*/ 9539 h 903060"/>
                <a:gd name="connsiteX4" fmla="*/ 9539 w 903060"/>
                <a:gd name="connsiteY4" fmla="*/ 454710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060" h="903060">
                  <a:moveTo>
                    <a:pt x="9539" y="454710"/>
                  </a:moveTo>
                  <a:cubicBezTo>
                    <a:pt x="9539" y="700572"/>
                    <a:pt x="208849" y="899881"/>
                    <a:pt x="454710" y="899881"/>
                  </a:cubicBezTo>
                  <a:cubicBezTo>
                    <a:pt x="700572" y="899881"/>
                    <a:pt x="899881" y="700572"/>
                    <a:pt x="899881" y="454710"/>
                  </a:cubicBezTo>
                  <a:cubicBezTo>
                    <a:pt x="899881" y="208849"/>
                    <a:pt x="700572" y="9539"/>
                    <a:pt x="454710" y="9539"/>
                  </a:cubicBezTo>
                  <a:cubicBezTo>
                    <a:pt x="208849" y="9539"/>
                    <a:pt x="9539" y="208849"/>
                    <a:pt x="9539" y="454710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2" name="Frihåndsform: figur 171">
              <a:extLst>
                <a:ext uri="{FF2B5EF4-FFF2-40B4-BE49-F238E27FC236}">
                  <a16:creationId xmlns:a16="http://schemas.microsoft.com/office/drawing/2014/main" id="{F76D9BBA-D1FD-46AE-A129-6F8640CEAEE2}"/>
                </a:ext>
              </a:extLst>
            </p:cNvPr>
            <p:cNvSpPr/>
            <p:nvPr/>
          </p:nvSpPr>
          <p:spPr>
            <a:xfrm>
              <a:off x="4910905" y="2866602"/>
              <a:ext cx="903061" cy="903061"/>
            </a:xfrm>
            <a:custGeom>
              <a:avLst/>
              <a:gdLst>
                <a:gd name="connsiteX0" fmla="*/ 140291 w 903060"/>
                <a:gd name="connsiteY0" fmla="*/ 139561 h 903060"/>
                <a:gd name="connsiteX1" fmla="*/ 139566 w 903060"/>
                <a:gd name="connsiteY1" fmla="*/ 769121 h 903060"/>
                <a:gd name="connsiteX2" fmla="*/ 769127 w 903060"/>
                <a:gd name="connsiteY2" fmla="*/ 769859 h 903060"/>
                <a:gd name="connsiteX3" fmla="*/ 769852 w 903060"/>
                <a:gd name="connsiteY3" fmla="*/ 140286 h 903060"/>
                <a:gd name="connsiteX4" fmla="*/ 769127 w 903060"/>
                <a:gd name="connsiteY4" fmla="*/ 139561 h 903060"/>
                <a:gd name="connsiteX5" fmla="*/ 140291 w 903060"/>
                <a:gd name="connsiteY5" fmla="*/ 139561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3060" h="903060">
                  <a:moveTo>
                    <a:pt x="140291" y="139561"/>
                  </a:moveTo>
                  <a:cubicBezTo>
                    <a:pt x="-33758" y="313203"/>
                    <a:pt x="-34089" y="595072"/>
                    <a:pt x="139566" y="769121"/>
                  </a:cubicBezTo>
                  <a:cubicBezTo>
                    <a:pt x="313208" y="943183"/>
                    <a:pt x="595077" y="943501"/>
                    <a:pt x="769127" y="769859"/>
                  </a:cubicBezTo>
                  <a:cubicBezTo>
                    <a:pt x="943175" y="596204"/>
                    <a:pt x="943506" y="314348"/>
                    <a:pt x="769852" y="140286"/>
                  </a:cubicBezTo>
                  <a:cubicBezTo>
                    <a:pt x="769610" y="140044"/>
                    <a:pt x="769368" y="139803"/>
                    <a:pt x="769127" y="139561"/>
                  </a:cubicBezTo>
                  <a:cubicBezTo>
                    <a:pt x="595357" y="-33801"/>
                    <a:pt x="314060" y="-33801"/>
                    <a:pt x="140291" y="139561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3" name="Frihåndsform: figur 172">
              <a:extLst>
                <a:ext uri="{FF2B5EF4-FFF2-40B4-BE49-F238E27FC236}">
                  <a16:creationId xmlns:a16="http://schemas.microsoft.com/office/drawing/2014/main" id="{D954E1B0-9AE9-473F-B0C2-ADF4D4BEAF6D}"/>
                </a:ext>
              </a:extLst>
            </p:cNvPr>
            <p:cNvSpPr/>
            <p:nvPr/>
          </p:nvSpPr>
          <p:spPr>
            <a:xfrm>
              <a:off x="3904054" y="3319054"/>
              <a:ext cx="903061" cy="903061"/>
            </a:xfrm>
            <a:custGeom>
              <a:avLst/>
              <a:gdLst>
                <a:gd name="connsiteX0" fmla="*/ 454710 w 903060"/>
                <a:gd name="connsiteY0" fmla="*/ 899881 h 903060"/>
                <a:gd name="connsiteX1" fmla="*/ 899881 w 903060"/>
                <a:gd name="connsiteY1" fmla="*/ 454710 h 903060"/>
                <a:gd name="connsiteX2" fmla="*/ 454710 w 903060"/>
                <a:gd name="connsiteY2" fmla="*/ 9539 h 903060"/>
                <a:gd name="connsiteX3" fmla="*/ 9539 w 903060"/>
                <a:gd name="connsiteY3" fmla="*/ 454710 h 903060"/>
                <a:gd name="connsiteX4" fmla="*/ 454710 w 903060"/>
                <a:gd name="connsiteY4" fmla="*/ 899881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060" h="903060">
                  <a:moveTo>
                    <a:pt x="454710" y="899881"/>
                  </a:moveTo>
                  <a:cubicBezTo>
                    <a:pt x="700571" y="899881"/>
                    <a:pt x="899881" y="700572"/>
                    <a:pt x="899881" y="454710"/>
                  </a:cubicBezTo>
                  <a:cubicBezTo>
                    <a:pt x="899881" y="208849"/>
                    <a:pt x="700571" y="9539"/>
                    <a:pt x="454710" y="9539"/>
                  </a:cubicBezTo>
                  <a:cubicBezTo>
                    <a:pt x="208849" y="9539"/>
                    <a:pt x="9539" y="208849"/>
                    <a:pt x="9539" y="454710"/>
                  </a:cubicBezTo>
                  <a:cubicBezTo>
                    <a:pt x="9539" y="700572"/>
                    <a:pt x="208849" y="899881"/>
                    <a:pt x="454710" y="899881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4" name="Frihåndsform: figur 173">
              <a:extLst>
                <a:ext uri="{FF2B5EF4-FFF2-40B4-BE49-F238E27FC236}">
                  <a16:creationId xmlns:a16="http://schemas.microsoft.com/office/drawing/2014/main" id="{E37F7EEE-C34E-4956-A5BE-2E370640362D}"/>
                </a:ext>
              </a:extLst>
            </p:cNvPr>
            <p:cNvSpPr/>
            <p:nvPr/>
          </p:nvSpPr>
          <p:spPr>
            <a:xfrm>
              <a:off x="2538398" y="1891456"/>
              <a:ext cx="903061" cy="903061"/>
            </a:xfrm>
            <a:custGeom>
              <a:avLst/>
              <a:gdLst>
                <a:gd name="connsiteX0" fmla="*/ 9539 w 903060"/>
                <a:gd name="connsiteY0" fmla="*/ 454710 h 903060"/>
                <a:gd name="connsiteX1" fmla="*/ 454710 w 903060"/>
                <a:gd name="connsiteY1" fmla="*/ 899881 h 903060"/>
                <a:gd name="connsiteX2" fmla="*/ 899881 w 903060"/>
                <a:gd name="connsiteY2" fmla="*/ 454710 h 903060"/>
                <a:gd name="connsiteX3" fmla="*/ 454710 w 903060"/>
                <a:gd name="connsiteY3" fmla="*/ 9539 h 903060"/>
                <a:gd name="connsiteX4" fmla="*/ 9539 w 903060"/>
                <a:gd name="connsiteY4" fmla="*/ 454710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3060" h="903060">
                  <a:moveTo>
                    <a:pt x="9539" y="454710"/>
                  </a:moveTo>
                  <a:cubicBezTo>
                    <a:pt x="9539" y="700571"/>
                    <a:pt x="208849" y="899881"/>
                    <a:pt x="454710" y="899881"/>
                  </a:cubicBezTo>
                  <a:cubicBezTo>
                    <a:pt x="700572" y="899881"/>
                    <a:pt x="899881" y="700571"/>
                    <a:pt x="899881" y="454710"/>
                  </a:cubicBezTo>
                  <a:cubicBezTo>
                    <a:pt x="899881" y="208849"/>
                    <a:pt x="700572" y="9539"/>
                    <a:pt x="454710" y="9539"/>
                  </a:cubicBezTo>
                  <a:cubicBezTo>
                    <a:pt x="208849" y="9539"/>
                    <a:pt x="9539" y="208849"/>
                    <a:pt x="9539" y="454710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5" name="Frihåndsform: figur 174">
              <a:extLst>
                <a:ext uri="{FF2B5EF4-FFF2-40B4-BE49-F238E27FC236}">
                  <a16:creationId xmlns:a16="http://schemas.microsoft.com/office/drawing/2014/main" id="{D8A23FE8-721F-4758-A1AC-51A28AE390B5}"/>
                </a:ext>
              </a:extLst>
            </p:cNvPr>
            <p:cNvSpPr/>
            <p:nvPr/>
          </p:nvSpPr>
          <p:spPr>
            <a:xfrm>
              <a:off x="2964617" y="917508"/>
              <a:ext cx="903061" cy="903061"/>
            </a:xfrm>
            <a:custGeom>
              <a:avLst/>
              <a:gdLst>
                <a:gd name="connsiteX0" fmla="*/ 140292 w 903060"/>
                <a:gd name="connsiteY0" fmla="*/ 139825 h 903060"/>
                <a:gd name="connsiteX1" fmla="*/ 139562 w 903060"/>
                <a:gd name="connsiteY1" fmla="*/ 769390 h 903060"/>
                <a:gd name="connsiteX2" fmla="*/ 769128 w 903060"/>
                <a:gd name="connsiteY2" fmla="*/ 770122 h 903060"/>
                <a:gd name="connsiteX3" fmla="*/ 769858 w 903060"/>
                <a:gd name="connsiteY3" fmla="*/ 140555 h 903060"/>
                <a:gd name="connsiteX4" fmla="*/ 769128 w 903060"/>
                <a:gd name="connsiteY4" fmla="*/ 139825 h 903060"/>
                <a:gd name="connsiteX5" fmla="*/ 140460 w 903060"/>
                <a:gd name="connsiteY5" fmla="*/ 139657 h 903060"/>
                <a:gd name="connsiteX6" fmla="*/ 140292 w 903060"/>
                <a:gd name="connsiteY6" fmla="*/ 139825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3060" h="903060">
                  <a:moveTo>
                    <a:pt x="140292" y="139825"/>
                  </a:moveTo>
                  <a:cubicBezTo>
                    <a:pt x="-33759" y="313473"/>
                    <a:pt x="-34086" y="595339"/>
                    <a:pt x="139562" y="769390"/>
                  </a:cubicBezTo>
                  <a:cubicBezTo>
                    <a:pt x="313209" y="943447"/>
                    <a:pt x="595076" y="943765"/>
                    <a:pt x="769128" y="770122"/>
                  </a:cubicBezTo>
                  <a:cubicBezTo>
                    <a:pt x="943177" y="596473"/>
                    <a:pt x="943507" y="314606"/>
                    <a:pt x="769858" y="140555"/>
                  </a:cubicBezTo>
                  <a:cubicBezTo>
                    <a:pt x="769615" y="140312"/>
                    <a:pt x="769372" y="140068"/>
                    <a:pt x="769128" y="139825"/>
                  </a:cubicBezTo>
                  <a:cubicBezTo>
                    <a:pt x="595572" y="-33824"/>
                    <a:pt x="314108" y="-33899"/>
                    <a:pt x="140460" y="139657"/>
                  </a:cubicBezTo>
                  <a:cubicBezTo>
                    <a:pt x="140404" y="139713"/>
                    <a:pt x="140348" y="139769"/>
                    <a:pt x="140292" y="13982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6" name="Frihåndsform: figur 175">
              <a:extLst>
                <a:ext uri="{FF2B5EF4-FFF2-40B4-BE49-F238E27FC236}">
                  <a16:creationId xmlns:a16="http://schemas.microsoft.com/office/drawing/2014/main" id="{F2D44E03-D159-46B6-A7AA-C3DB39372C04}"/>
                </a:ext>
              </a:extLst>
            </p:cNvPr>
            <p:cNvSpPr/>
            <p:nvPr/>
          </p:nvSpPr>
          <p:spPr>
            <a:xfrm>
              <a:off x="2897205" y="2866602"/>
              <a:ext cx="903061" cy="903061"/>
            </a:xfrm>
            <a:custGeom>
              <a:avLst/>
              <a:gdLst>
                <a:gd name="connsiteX0" fmla="*/ 769128 w 903060"/>
                <a:gd name="connsiteY0" fmla="*/ 139561 h 903060"/>
                <a:gd name="connsiteX1" fmla="*/ 769858 w 903060"/>
                <a:gd name="connsiteY1" fmla="*/ 769121 h 903060"/>
                <a:gd name="connsiteX2" fmla="*/ 140292 w 903060"/>
                <a:gd name="connsiteY2" fmla="*/ 769859 h 903060"/>
                <a:gd name="connsiteX3" fmla="*/ 139562 w 903060"/>
                <a:gd name="connsiteY3" fmla="*/ 140286 h 903060"/>
                <a:gd name="connsiteX4" fmla="*/ 140292 w 903060"/>
                <a:gd name="connsiteY4" fmla="*/ 139561 h 903060"/>
                <a:gd name="connsiteX5" fmla="*/ 769128 w 903060"/>
                <a:gd name="connsiteY5" fmla="*/ 139561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3060" h="903060">
                  <a:moveTo>
                    <a:pt x="769128" y="139561"/>
                  </a:moveTo>
                  <a:cubicBezTo>
                    <a:pt x="943177" y="313203"/>
                    <a:pt x="943507" y="595072"/>
                    <a:pt x="769858" y="769121"/>
                  </a:cubicBezTo>
                  <a:cubicBezTo>
                    <a:pt x="596211" y="943183"/>
                    <a:pt x="314344" y="943501"/>
                    <a:pt x="140292" y="769859"/>
                  </a:cubicBezTo>
                  <a:cubicBezTo>
                    <a:pt x="-33759" y="596204"/>
                    <a:pt x="-34086" y="314348"/>
                    <a:pt x="139562" y="140286"/>
                  </a:cubicBezTo>
                  <a:cubicBezTo>
                    <a:pt x="139805" y="140044"/>
                    <a:pt x="140048" y="139803"/>
                    <a:pt x="140292" y="139561"/>
                  </a:cubicBezTo>
                  <a:cubicBezTo>
                    <a:pt x="314059" y="-33801"/>
                    <a:pt x="595361" y="-33801"/>
                    <a:pt x="769128" y="139561"/>
                  </a:cubicBezTo>
                </a:path>
              </a:pathLst>
            </a:custGeom>
            <a:solidFill>
              <a:srgbClr val="E5E6E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  <p:sp>
          <p:nvSpPr>
            <p:cNvPr id="177" name="Frihåndsform: figur 176">
              <a:extLst>
                <a:ext uri="{FF2B5EF4-FFF2-40B4-BE49-F238E27FC236}">
                  <a16:creationId xmlns:a16="http://schemas.microsoft.com/office/drawing/2014/main" id="{85ABC539-6182-4CB6-9D61-5D12981AACEF}"/>
                </a:ext>
              </a:extLst>
            </p:cNvPr>
            <p:cNvSpPr/>
            <p:nvPr/>
          </p:nvSpPr>
          <p:spPr>
            <a:xfrm>
              <a:off x="4853096" y="928774"/>
              <a:ext cx="903061" cy="903061"/>
            </a:xfrm>
            <a:custGeom>
              <a:avLst/>
              <a:gdLst>
                <a:gd name="connsiteX0" fmla="*/ 769190 w 903060"/>
                <a:gd name="connsiteY0" fmla="*/ 139625 h 903060"/>
                <a:gd name="connsiteX1" fmla="*/ 769788 w 903060"/>
                <a:gd name="connsiteY1" fmla="*/ 769192 h 903060"/>
                <a:gd name="connsiteX2" fmla="*/ 140227 w 903060"/>
                <a:gd name="connsiteY2" fmla="*/ 769795 h 903060"/>
                <a:gd name="connsiteX3" fmla="*/ 139630 w 903060"/>
                <a:gd name="connsiteY3" fmla="*/ 140229 h 903060"/>
                <a:gd name="connsiteX4" fmla="*/ 140227 w 903060"/>
                <a:gd name="connsiteY4" fmla="*/ 139625 h 903060"/>
                <a:gd name="connsiteX5" fmla="*/ 769190 w 903060"/>
                <a:gd name="connsiteY5" fmla="*/ 139625 h 90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03060" h="903060">
                  <a:moveTo>
                    <a:pt x="769190" y="139625"/>
                  </a:moveTo>
                  <a:cubicBezTo>
                    <a:pt x="943201" y="313308"/>
                    <a:pt x="943481" y="595174"/>
                    <a:pt x="769788" y="769192"/>
                  </a:cubicBezTo>
                  <a:cubicBezTo>
                    <a:pt x="596108" y="943209"/>
                    <a:pt x="314238" y="943476"/>
                    <a:pt x="140227" y="769795"/>
                  </a:cubicBezTo>
                  <a:cubicBezTo>
                    <a:pt x="-33784" y="596112"/>
                    <a:pt x="-34063" y="314245"/>
                    <a:pt x="139630" y="140229"/>
                  </a:cubicBezTo>
                  <a:cubicBezTo>
                    <a:pt x="139820" y="140027"/>
                    <a:pt x="140024" y="139826"/>
                    <a:pt x="140227" y="139625"/>
                  </a:cubicBezTo>
                  <a:cubicBezTo>
                    <a:pt x="314009" y="-33822"/>
                    <a:pt x="595408" y="-33822"/>
                    <a:pt x="769190" y="13962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1955"/>
                <a:t>Tekst</a:t>
              </a:r>
            </a:p>
          </p:txBody>
        </p:sp>
      </p:grpSp>
      <p:grpSp>
        <p:nvGrpSpPr>
          <p:cNvPr id="178" name="i42" hidden="1">
            <a:extLst>
              <a:ext uri="{FF2B5EF4-FFF2-40B4-BE49-F238E27FC236}">
                <a16:creationId xmlns:a16="http://schemas.microsoft.com/office/drawing/2014/main" id="{02835A5D-165E-4631-8D9D-E2CD5106514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78909" y="1385082"/>
            <a:ext cx="10296595" cy="6376663"/>
            <a:chOff x="1604956" y="629441"/>
            <a:chExt cx="5792400" cy="3586873"/>
          </a:xfrm>
        </p:grpSpPr>
        <p:sp>
          <p:nvSpPr>
            <p:cNvPr id="179" name="Frihåndsform: figur 178">
              <a:extLst>
                <a:ext uri="{FF2B5EF4-FFF2-40B4-BE49-F238E27FC236}">
                  <a16:creationId xmlns:a16="http://schemas.microsoft.com/office/drawing/2014/main" id="{A30AA57D-CFF0-454C-BA66-8BE168B78962}"/>
                </a:ext>
              </a:extLst>
            </p:cNvPr>
            <p:cNvSpPr/>
            <p:nvPr/>
          </p:nvSpPr>
          <p:spPr>
            <a:xfrm>
              <a:off x="2850531" y="3607789"/>
              <a:ext cx="3321533" cy="608525"/>
            </a:xfrm>
            <a:custGeom>
              <a:avLst/>
              <a:gdLst>
                <a:gd name="connsiteX0" fmla="*/ 30771 w 2495550"/>
                <a:gd name="connsiteY0" fmla="*/ 457493 h 457200"/>
                <a:gd name="connsiteX1" fmla="*/ 7151 w 2495550"/>
                <a:gd name="connsiteY1" fmla="*/ 434833 h 457200"/>
                <a:gd name="connsiteX2" fmla="*/ 7149 w 2495550"/>
                <a:gd name="connsiteY2" fmla="*/ 433966 h 457200"/>
                <a:gd name="connsiteX3" fmla="*/ 7149 w 2495550"/>
                <a:gd name="connsiteY3" fmla="*/ 30773 h 457200"/>
                <a:gd name="connsiteX4" fmla="*/ 29809 w 2495550"/>
                <a:gd name="connsiteY4" fmla="*/ 7151 h 457200"/>
                <a:gd name="connsiteX5" fmla="*/ 30771 w 2495550"/>
                <a:gd name="connsiteY5" fmla="*/ 7151 h 457200"/>
                <a:gd name="connsiteX6" fmla="*/ 2464885 w 2495550"/>
                <a:gd name="connsiteY6" fmla="*/ 7151 h 457200"/>
                <a:gd name="connsiteX7" fmla="*/ 2488507 w 2495550"/>
                <a:gd name="connsiteY7" fmla="*/ 29811 h 457200"/>
                <a:gd name="connsiteX8" fmla="*/ 2488507 w 2495550"/>
                <a:gd name="connsiteY8" fmla="*/ 30773 h 457200"/>
                <a:gd name="connsiteX9" fmla="*/ 2488507 w 2495550"/>
                <a:gd name="connsiteY9" fmla="*/ 433966 h 457200"/>
                <a:gd name="connsiteX10" fmla="*/ 2465942 w 2495550"/>
                <a:gd name="connsiteY10" fmla="*/ 457493 h 457200"/>
                <a:gd name="connsiteX11" fmla="*/ 2464885 w 2495550"/>
                <a:gd name="connsiteY11" fmla="*/ 457493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5550" h="457200">
                  <a:moveTo>
                    <a:pt x="30771" y="457493"/>
                  </a:moveTo>
                  <a:cubicBezTo>
                    <a:pt x="17990" y="457760"/>
                    <a:pt x="7416" y="447616"/>
                    <a:pt x="7151" y="434833"/>
                  </a:cubicBezTo>
                  <a:cubicBezTo>
                    <a:pt x="7145" y="434547"/>
                    <a:pt x="7144" y="434252"/>
                    <a:pt x="7149" y="433966"/>
                  </a:cubicBezTo>
                  <a:lnTo>
                    <a:pt x="7149" y="30773"/>
                  </a:lnTo>
                  <a:cubicBezTo>
                    <a:pt x="6883" y="17990"/>
                    <a:pt x="17028" y="7418"/>
                    <a:pt x="29809" y="7151"/>
                  </a:cubicBezTo>
                  <a:cubicBezTo>
                    <a:pt x="30133" y="7141"/>
                    <a:pt x="30447" y="7141"/>
                    <a:pt x="30771" y="7151"/>
                  </a:cubicBezTo>
                  <a:lnTo>
                    <a:pt x="2464885" y="7151"/>
                  </a:lnTo>
                  <a:cubicBezTo>
                    <a:pt x="2477667" y="6884"/>
                    <a:pt x="2488240" y="17028"/>
                    <a:pt x="2488507" y="29811"/>
                  </a:cubicBezTo>
                  <a:cubicBezTo>
                    <a:pt x="2488516" y="30135"/>
                    <a:pt x="2488516" y="30449"/>
                    <a:pt x="2488507" y="30773"/>
                  </a:cubicBezTo>
                  <a:lnTo>
                    <a:pt x="2488507" y="433966"/>
                  </a:lnTo>
                  <a:cubicBezTo>
                    <a:pt x="2488773" y="446691"/>
                    <a:pt x="2478677" y="457226"/>
                    <a:pt x="2465942" y="457493"/>
                  </a:cubicBezTo>
                  <a:cubicBezTo>
                    <a:pt x="2465590" y="457502"/>
                    <a:pt x="2465237" y="457502"/>
                    <a:pt x="2464885" y="457493"/>
                  </a:cubicBezTo>
                  <a:close/>
                </a:path>
              </a:pathLst>
            </a:custGeom>
            <a:solidFill>
              <a:srgbClr val="E2E3E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844"/>
                <a:t>Tekst</a:t>
              </a:r>
            </a:p>
          </p:txBody>
        </p:sp>
        <p:sp>
          <p:nvSpPr>
            <p:cNvPr id="180" name="Frihåndsform: figur 179">
              <a:extLst>
                <a:ext uri="{FF2B5EF4-FFF2-40B4-BE49-F238E27FC236}">
                  <a16:creationId xmlns:a16="http://schemas.microsoft.com/office/drawing/2014/main" id="{9FADB07B-7B70-4F3E-8A12-CA97A38C636E}"/>
                </a:ext>
              </a:extLst>
            </p:cNvPr>
            <p:cNvSpPr/>
            <p:nvPr/>
          </p:nvSpPr>
          <p:spPr>
            <a:xfrm>
              <a:off x="1604956" y="1693470"/>
              <a:ext cx="1850931" cy="1470603"/>
            </a:xfrm>
            <a:custGeom>
              <a:avLst/>
              <a:gdLst>
                <a:gd name="connsiteX0" fmla="*/ 30771 w 1390650"/>
                <a:gd name="connsiteY0" fmla="*/ 7151 h 1104900"/>
                <a:gd name="connsiteX1" fmla="*/ 7151 w 1390650"/>
                <a:gd name="connsiteY1" fmla="*/ 29812 h 1104900"/>
                <a:gd name="connsiteX2" fmla="*/ 7149 w 1390650"/>
                <a:gd name="connsiteY2" fmla="*/ 30678 h 1104900"/>
                <a:gd name="connsiteX3" fmla="*/ 7149 w 1390650"/>
                <a:gd name="connsiteY3" fmla="*/ 1076142 h 1104900"/>
                <a:gd name="connsiteX4" fmla="*/ 29808 w 1390650"/>
                <a:gd name="connsiteY4" fmla="*/ 1099764 h 1104900"/>
                <a:gd name="connsiteX5" fmla="*/ 30771 w 1390650"/>
                <a:gd name="connsiteY5" fmla="*/ 1099764 h 1104900"/>
                <a:gd name="connsiteX6" fmla="*/ 1364271 w 1390650"/>
                <a:gd name="connsiteY6" fmla="*/ 1099764 h 1104900"/>
                <a:gd name="connsiteX7" fmla="*/ 1387893 w 1390650"/>
                <a:gd name="connsiteY7" fmla="*/ 1077104 h 1104900"/>
                <a:gd name="connsiteX8" fmla="*/ 1387893 w 1390650"/>
                <a:gd name="connsiteY8" fmla="*/ 1076142 h 1104900"/>
                <a:gd name="connsiteX9" fmla="*/ 1387893 w 1390650"/>
                <a:gd name="connsiteY9" fmla="*/ 30678 h 1104900"/>
                <a:gd name="connsiteX10" fmla="*/ 1365328 w 1390650"/>
                <a:gd name="connsiteY10" fmla="*/ 7149 h 1104900"/>
                <a:gd name="connsiteX11" fmla="*/ 1364271 w 1390650"/>
                <a:gd name="connsiteY11" fmla="*/ 7151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0650" h="1104900">
                  <a:moveTo>
                    <a:pt x="30771" y="7151"/>
                  </a:moveTo>
                  <a:cubicBezTo>
                    <a:pt x="17991" y="6886"/>
                    <a:pt x="7415" y="17032"/>
                    <a:pt x="7151" y="29812"/>
                  </a:cubicBezTo>
                  <a:cubicBezTo>
                    <a:pt x="7145" y="30100"/>
                    <a:pt x="7144" y="30389"/>
                    <a:pt x="7149" y="30678"/>
                  </a:cubicBezTo>
                  <a:lnTo>
                    <a:pt x="7149" y="1076142"/>
                  </a:lnTo>
                  <a:cubicBezTo>
                    <a:pt x="6883" y="1088924"/>
                    <a:pt x="17028" y="1099497"/>
                    <a:pt x="29808" y="1099764"/>
                  </a:cubicBezTo>
                  <a:cubicBezTo>
                    <a:pt x="30129" y="1099773"/>
                    <a:pt x="30450" y="1099773"/>
                    <a:pt x="30771" y="1099764"/>
                  </a:cubicBezTo>
                  <a:lnTo>
                    <a:pt x="1364271" y="1099764"/>
                  </a:lnTo>
                  <a:cubicBezTo>
                    <a:pt x="1377054" y="1100030"/>
                    <a:pt x="1387626" y="1089886"/>
                    <a:pt x="1387893" y="1077104"/>
                  </a:cubicBezTo>
                  <a:cubicBezTo>
                    <a:pt x="1387902" y="1076780"/>
                    <a:pt x="1387902" y="1076465"/>
                    <a:pt x="1387893" y="1076142"/>
                  </a:cubicBezTo>
                  <a:lnTo>
                    <a:pt x="1387893" y="30678"/>
                  </a:lnTo>
                  <a:cubicBezTo>
                    <a:pt x="1388160" y="17950"/>
                    <a:pt x="1378063" y="7416"/>
                    <a:pt x="1365328" y="7149"/>
                  </a:cubicBezTo>
                  <a:cubicBezTo>
                    <a:pt x="1364976" y="7141"/>
                    <a:pt x="1364623" y="7142"/>
                    <a:pt x="1364271" y="7151"/>
                  </a:cubicBezTo>
                  <a:close/>
                </a:path>
              </a:pathLst>
            </a:custGeom>
            <a:solidFill>
              <a:srgbClr val="E2E3E4"/>
            </a:solidFill>
            <a:ln w="9525" cap="flat">
              <a:noFill/>
              <a:prstDash val="solid"/>
              <a:miter/>
            </a:ln>
          </p:spPr>
          <p:txBody>
            <a:bodyPr bIns="216000" rtlCol="0" anchor="b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81" name="Frihåndsform: figur 180">
              <a:extLst>
                <a:ext uri="{FF2B5EF4-FFF2-40B4-BE49-F238E27FC236}">
                  <a16:creationId xmlns:a16="http://schemas.microsoft.com/office/drawing/2014/main" id="{EBCEF623-9A33-4626-9882-BF13856A62EB}"/>
                </a:ext>
              </a:extLst>
            </p:cNvPr>
            <p:cNvSpPr/>
            <p:nvPr/>
          </p:nvSpPr>
          <p:spPr>
            <a:xfrm>
              <a:off x="1853445" y="2216467"/>
              <a:ext cx="342295" cy="278907"/>
            </a:xfrm>
            <a:custGeom>
              <a:avLst/>
              <a:gdLst>
                <a:gd name="connsiteX0" fmla="*/ 117728 w 257175"/>
                <a:gd name="connsiteY0" fmla="*/ 7307 h 209550"/>
                <a:gd name="connsiteX1" fmla="*/ 7524 w 257175"/>
                <a:gd name="connsiteY1" fmla="*/ 103128 h 209550"/>
                <a:gd name="connsiteX2" fmla="*/ 97970 w 257175"/>
                <a:gd name="connsiteY2" fmla="*/ 210818 h 209550"/>
                <a:gd name="connsiteX3" fmla="*/ 101250 w 257175"/>
                <a:gd name="connsiteY3" fmla="*/ 211046 h 209550"/>
                <a:gd name="connsiteX4" fmla="*/ 207073 w 257175"/>
                <a:gd name="connsiteY4" fmla="*/ 137704 h 209550"/>
                <a:gd name="connsiteX5" fmla="*/ 247554 w 257175"/>
                <a:gd name="connsiteY5" fmla="*/ 120559 h 209550"/>
                <a:gd name="connsiteX6" fmla="*/ 248126 w 257175"/>
                <a:gd name="connsiteY6" fmla="*/ 114082 h 209550"/>
                <a:gd name="connsiteX7" fmla="*/ 210978 w 257175"/>
                <a:gd name="connsiteY7" fmla="*/ 92365 h 209550"/>
                <a:gd name="connsiteX8" fmla="*/ 117919 w 257175"/>
                <a:gd name="connsiteY8" fmla="*/ 730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209550">
                  <a:moveTo>
                    <a:pt x="117728" y="7307"/>
                  </a:moveTo>
                  <a:cubicBezTo>
                    <a:pt x="61118" y="4173"/>
                    <a:pt x="12282" y="46635"/>
                    <a:pt x="7524" y="103128"/>
                  </a:cubicBezTo>
                  <a:cubicBezTo>
                    <a:pt x="2763" y="157840"/>
                    <a:pt x="43257" y="206055"/>
                    <a:pt x="97970" y="210818"/>
                  </a:cubicBezTo>
                  <a:cubicBezTo>
                    <a:pt x="99062" y="210913"/>
                    <a:pt x="100156" y="210989"/>
                    <a:pt x="101250" y="211046"/>
                  </a:cubicBezTo>
                  <a:cubicBezTo>
                    <a:pt x="149157" y="213713"/>
                    <a:pt x="192753" y="183500"/>
                    <a:pt x="207073" y="137704"/>
                  </a:cubicBezTo>
                  <a:lnTo>
                    <a:pt x="247554" y="120559"/>
                  </a:lnTo>
                  <a:cubicBezTo>
                    <a:pt x="247554" y="120559"/>
                    <a:pt x="254317" y="117701"/>
                    <a:pt x="248126" y="114082"/>
                  </a:cubicBezTo>
                  <a:lnTo>
                    <a:pt x="210978" y="92365"/>
                  </a:lnTo>
                  <a:cubicBezTo>
                    <a:pt x="204192" y="45454"/>
                    <a:pt x="165245" y="9859"/>
                    <a:pt x="117919" y="730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82" name="Frihåndsform: figur 181">
              <a:extLst>
                <a:ext uri="{FF2B5EF4-FFF2-40B4-BE49-F238E27FC236}">
                  <a16:creationId xmlns:a16="http://schemas.microsoft.com/office/drawing/2014/main" id="{617C6F7D-C5D9-427D-AD10-A07083F99562}"/>
                </a:ext>
              </a:extLst>
            </p:cNvPr>
            <p:cNvSpPr/>
            <p:nvPr/>
          </p:nvSpPr>
          <p:spPr>
            <a:xfrm>
              <a:off x="2850531" y="629441"/>
              <a:ext cx="3321533" cy="608525"/>
            </a:xfrm>
            <a:custGeom>
              <a:avLst/>
              <a:gdLst>
                <a:gd name="connsiteX0" fmla="*/ 30771 w 2495550"/>
                <a:gd name="connsiteY0" fmla="*/ 7149 h 457200"/>
                <a:gd name="connsiteX1" fmla="*/ 7149 w 2495550"/>
                <a:gd name="connsiteY1" fmla="*/ 29808 h 457200"/>
                <a:gd name="connsiteX2" fmla="*/ 7149 w 2495550"/>
                <a:gd name="connsiteY2" fmla="*/ 30771 h 457200"/>
                <a:gd name="connsiteX3" fmla="*/ 7149 w 2495550"/>
                <a:gd name="connsiteY3" fmla="*/ 433964 h 457200"/>
                <a:gd name="connsiteX4" fmla="*/ 29714 w 2495550"/>
                <a:gd name="connsiteY4" fmla="*/ 457493 h 457200"/>
                <a:gd name="connsiteX5" fmla="*/ 30771 w 2495550"/>
                <a:gd name="connsiteY5" fmla="*/ 457491 h 457200"/>
                <a:gd name="connsiteX6" fmla="*/ 2464885 w 2495550"/>
                <a:gd name="connsiteY6" fmla="*/ 457491 h 457200"/>
                <a:gd name="connsiteX7" fmla="*/ 2488507 w 2495550"/>
                <a:gd name="connsiteY7" fmla="*/ 434830 h 457200"/>
                <a:gd name="connsiteX8" fmla="*/ 2488507 w 2495550"/>
                <a:gd name="connsiteY8" fmla="*/ 433964 h 457200"/>
                <a:gd name="connsiteX9" fmla="*/ 2488507 w 2495550"/>
                <a:gd name="connsiteY9" fmla="*/ 30771 h 457200"/>
                <a:gd name="connsiteX10" fmla="*/ 2465847 w 2495550"/>
                <a:gd name="connsiteY10" fmla="*/ 7149 h 457200"/>
                <a:gd name="connsiteX11" fmla="*/ 2464885 w 2495550"/>
                <a:gd name="connsiteY11" fmla="*/ 7149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95550" h="457200">
                  <a:moveTo>
                    <a:pt x="30771" y="7149"/>
                  </a:moveTo>
                  <a:cubicBezTo>
                    <a:pt x="17990" y="6883"/>
                    <a:pt x="7415" y="17028"/>
                    <a:pt x="7149" y="29808"/>
                  </a:cubicBezTo>
                  <a:cubicBezTo>
                    <a:pt x="7142" y="30129"/>
                    <a:pt x="7142" y="30450"/>
                    <a:pt x="7149" y="30771"/>
                  </a:cubicBezTo>
                  <a:lnTo>
                    <a:pt x="7149" y="433964"/>
                  </a:lnTo>
                  <a:cubicBezTo>
                    <a:pt x="6882" y="446691"/>
                    <a:pt x="16983" y="457226"/>
                    <a:pt x="29714" y="457493"/>
                  </a:cubicBezTo>
                  <a:cubicBezTo>
                    <a:pt x="30066" y="457500"/>
                    <a:pt x="30418" y="457499"/>
                    <a:pt x="30771" y="457491"/>
                  </a:cubicBezTo>
                  <a:lnTo>
                    <a:pt x="2464885" y="457491"/>
                  </a:lnTo>
                  <a:cubicBezTo>
                    <a:pt x="2477667" y="457756"/>
                    <a:pt x="2488240" y="447610"/>
                    <a:pt x="2488507" y="434830"/>
                  </a:cubicBezTo>
                  <a:cubicBezTo>
                    <a:pt x="2488507" y="434541"/>
                    <a:pt x="2488516" y="434253"/>
                    <a:pt x="2488507" y="433964"/>
                  </a:cubicBezTo>
                  <a:lnTo>
                    <a:pt x="2488507" y="30771"/>
                  </a:lnTo>
                  <a:cubicBezTo>
                    <a:pt x="2488773" y="17991"/>
                    <a:pt x="2478629" y="7415"/>
                    <a:pt x="2465847" y="7149"/>
                  </a:cubicBezTo>
                  <a:cubicBezTo>
                    <a:pt x="2465523" y="7142"/>
                    <a:pt x="2465209" y="7142"/>
                    <a:pt x="2464885" y="7149"/>
                  </a:cubicBezTo>
                  <a:close/>
                </a:path>
              </a:pathLst>
            </a:custGeom>
            <a:solidFill>
              <a:srgbClr val="F5A8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2666" b="1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183" name="Frihåndsform: figur 182">
              <a:extLst>
                <a:ext uri="{FF2B5EF4-FFF2-40B4-BE49-F238E27FC236}">
                  <a16:creationId xmlns:a16="http://schemas.microsoft.com/office/drawing/2014/main" id="{65304C2D-1E9C-4A76-8DBC-F57F574D6725}"/>
                </a:ext>
              </a:extLst>
            </p:cNvPr>
            <p:cNvSpPr/>
            <p:nvPr/>
          </p:nvSpPr>
          <p:spPr>
            <a:xfrm>
              <a:off x="3582663" y="1693458"/>
              <a:ext cx="1850931" cy="1470603"/>
            </a:xfrm>
            <a:custGeom>
              <a:avLst/>
              <a:gdLst>
                <a:gd name="connsiteX0" fmla="*/ 31152 w 1390650"/>
                <a:gd name="connsiteY0" fmla="*/ 7160 h 1104900"/>
                <a:gd name="connsiteX1" fmla="*/ 7158 w 1390650"/>
                <a:gd name="connsiteY1" fmla="*/ 29429 h 1104900"/>
                <a:gd name="connsiteX2" fmla="*/ 7149 w 1390650"/>
                <a:gd name="connsiteY2" fmla="*/ 30687 h 1104900"/>
                <a:gd name="connsiteX3" fmla="*/ 7149 w 1390650"/>
                <a:gd name="connsiteY3" fmla="*/ 1076151 h 1104900"/>
                <a:gd name="connsiteX4" fmla="*/ 29809 w 1390650"/>
                <a:gd name="connsiteY4" fmla="*/ 1099773 h 1104900"/>
                <a:gd name="connsiteX5" fmla="*/ 30771 w 1390650"/>
                <a:gd name="connsiteY5" fmla="*/ 1099773 h 1104900"/>
                <a:gd name="connsiteX6" fmla="*/ 1364271 w 1390650"/>
                <a:gd name="connsiteY6" fmla="*/ 1099773 h 1104900"/>
                <a:gd name="connsiteX7" fmla="*/ 1387893 w 1390650"/>
                <a:gd name="connsiteY7" fmla="*/ 1077113 h 1104900"/>
                <a:gd name="connsiteX8" fmla="*/ 1387893 w 1390650"/>
                <a:gd name="connsiteY8" fmla="*/ 1076151 h 1104900"/>
                <a:gd name="connsiteX9" fmla="*/ 1387893 w 1390650"/>
                <a:gd name="connsiteY9" fmla="*/ 30687 h 1104900"/>
                <a:gd name="connsiteX10" fmla="*/ 1365328 w 1390650"/>
                <a:gd name="connsiteY10" fmla="*/ 7158 h 1104900"/>
                <a:gd name="connsiteX11" fmla="*/ 1364271 w 1390650"/>
                <a:gd name="connsiteY11" fmla="*/ 7160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0650" h="1104900">
                  <a:moveTo>
                    <a:pt x="31152" y="7160"/>
                  </a:moveTo>
                  <a:cubicBezTo>
                    <a:pt x="18379" y="6685"/>
                    <a:pt x="7635" y="16655"/>
                    <a:pt x="7158" y="29429"/>
                  </a:cubicBezTo>
                  <a:cubicBezTo>
                    <a:pt x="7149" y="29849"/>
                    <a:pt x="7139" y="30268"/>
                    <a:pt x="7149" y="30687"/>
                  </a:cubicBezTo>
                  <a:lnTo>
                    <a:pt x="7149" y="1076151"/>
                  </a:lnTo>
                  <a:cubicBezTo>
                    <a:pt x="6882" y="1088933"/>
                    <a:pt x="17026" y="1099506"/>
                    <a:pt x="29809" y="1099773"/>
                  </a:cubicBezTo>
                  <a:cubicBezTo>
                    <a:pt x="30133" y="1099782"/>
                    <a:pt x="30447" y="1099782"/>
                    <a:pt x="30771" y="1099773"/>
                  </a:cubicBezTo>
                  <a:lnTo>
                    <a:pt x="1364271" y="1099773"/>
                  </a:lnTo>
                  <a:cubicBezTo>
                    <a:pt x="1377053" y="1100040"/>
                    <a:pt x="1387626" y="1089895"/>
                    <a:pt x="1387893" y="1077113"/>
                  </a:cubicBezTo>
                  <a:cubicBezTo>
                    <a:pt x="1387902" y="1076789"/>
                    <a:pt x="1387902" y="1076475"/>
                    <a:pt x="1387893" y="1076151"/>
                  </a:cubicBezTo>
                  <a:lnTo>
                    <a:pt x="1387893" y="30687"/>
                  </a:lnTo>
                  <a:cubicBezTo>
                    <a:pt x="1388160" y="17959"/>
                    <a:pt x="1378063" y="7425"/>
                    <a:pt x="1365328" y="7158"/>
                  </a:cubicBezTo>
                  <a:cubicBezTo>
                    <a:pt x="1364976" y="7151"/>
                    <a:pt x="1364623" y="7151"/>
                    <a:pt x="1364271" y="7160"/>
                  </a:cubicBezTo>
                  <a:close/>
                </a:path>
              </a:pathLst>
            </a:custGeom>
            <a:solidFill>
              <a:srgbClr val="E2E3E4"/>
            </a:solidFill>
            <a:ln w="9525" cap="flat">
              <a:noFill/>
              <a:prstDash val="solid"/>
              <a:miter/>
            </a:ln>
          </p:spPr>
          <p:txBody>
            <a:bodyPr bIns="216000" rtlCol="0" anchor="b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84" name="Frihåndsform: figur 183">
              <a:extLst>
                <a:ext uri="{FF2B5EF4-FFF2-40B4-BE49-F238E27FC236}">
                  <a16:creationId xmlns:a16="http://schemas.microsoft.com/office/drawing/2014/main" id="{6AF223C8-84E9-41A5-A572-AD9996008C58}"/>
                </a:ext>
              </a:extLst>
            </p:cNvPr>
            <p:cNvSpPr/>
            <p:nvPr/>
          </p:nvSpPr>
          <p:spPr>
            <a:xfrm>
              <a:off x="5546425" y="1693470"/>
              <a:ext cx="1850931" cy="1470603"/>
            </a:xfrm>
            <a:custGeom>
              <a:avLst/>
              <a:gdLst>
                <a:gd name="connsiteX0" fmla="*/ 30771 w 1390650"/>
                <a:gd name="connsiteY0" fmla="*/ 7151 h 1104900"/>
                <a:gd name="connsiteX1" fmla="*/ 7149 w 1390650"/>
                <a:gd name="connsiteY1" fmla="*/ 29812 h 1104900"/>
                <a:gd name="connsiteX2" fmla="*/ 7149 w 1390650"/>
                <a:gd name="connsiteY2" fmla="*/ 30678 h 1104900"/>
                <a:gd name="connsiteX3" fmla="*/ 7149 w 1390650"/>
                <a:gd name="connsiteY3" fmla="*/ 1076142 h 1104900"/>
                <a:gd name="connsiteX4" fmla="*/ 29809 w 1390650"/>
                <a:gd name="connsiteY4" fmla="*/ 1099764 h 1104900"/>
                <a:gd name="connsiteX5" fmla="*/ 30771 w 1390650"/>
                <a:gd name="connsiteY5" fmla="*/ 1099764 h 1104900"/>
                <a:gd name="connsiteX6" fmla="*/ 1364271 w 1390650"/>
                <a:gd name="connsiteY6" fmla="*/ 1099764 h 1104900"/>
                <a:gd name="connsiteX7" fmla="*/ 1387893 w 1390650"/>
                <a:gd name="connsiteY7" fmla="*/ 1077104 h 1104900"/>
                <a:gd name="connsiteX8" fmla="*/ 1387893 w 1390650"/>
                <a:gd name="connsiteY8" fmla="*/ 1076142 h 1104900"/>
                <a:gd name="connsiteX9" fmla="*/ 1387893 w 1390650"/>
                <a:gd name="connsiteY9" fmla="*/ 30678 h 1104900"/>
                <a:gd name="connsiteX10" fmla="*/ 1365328 w 1390650"/>
                <a:gd name="connsiteY10" fmla="*/ 7149 h 1104900"/>
                <a:gd name="connsiteX11" fmla="*/ 1364271 w 1390650"/>
                <a:gd name="connsiteY11" fmla="*/ 7151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90650" h="1104900">
                  <a:moveTo>
                    <a:pt x="30771" y="7151"/>
                  </a:moveTo>
                  <a:cubicBezTo>
                    <a:pt x="17988" y="6886"/>
                    <a:pt x="7416" y="17032"/>
                    <a:pt x="7149" y="29812"/>
                  </a:cubicBezTo>
                  <a:cubicBezTo>
                    <a:pt x="7149" y="30100"/>
                    <a:pt x="7139" y="30389"/>
                    <a:pt x="7149" y="30678"/>
                  </a:cubicBezTo>
                  <a:lnTo>
                    <a:pt x="7149" y="1076142"/>
                  </a:lnTo>
                  <a:cubicBezTo>
                    <a:pt x="6882" y="1088924"/>
                    <a:pt x="17026" y="1099497"/>
                    <a:pt x="29809" y="1099764"/>
                  </a:cubicBezTo>
                  <a:cubicBezTo>
                    <a:pt x="30133" y="1099773"/>
                    <a:pt x="30447" y="1099773"/>
                    <a:pt x="30771" y="1099764"/>
                  </a:cubicBezTo>
                  <a:lnTo>
                    <a:pt x="1364271" y="1099764"/>
                  </a:lnTo>
                  <a:cubicBezTo>
                    <a:pt x="1377053" y="1100030"/>
                    <a:pt x="1387626" y="1089886"/>
                    <a:pt x="1387893" y="1077104"/>
                  </a:cubicBezTo>
                  <a:cubicBezTo>
                    <a:pt x="1387902" y="1076780"/>
                    <a:pt x="1387902" y="1076465"/>
                    <a:pt x="1387893" y="1076142"/>
                  </a:cubicBezTo>
                  <a:lnTo>
                    <a:pt x="1387893" y="30678"/>
                  </a:lnTo>
                  <a:cubicBezTo>
                    <a:pt x="1388160" y="17950"/>
                    <a:pt x="1378063" y="7416"/>
                    <a:pt x="1365328" y="7149"/>
                  </a:cubicBezTo>
                  <a:cubicBezTo>
                    <a:pt x="1364976" y="7141"/>
                    <a:pt x="1364623" y="7142"/>
                    <a:pt x="1364271" y="7151"/>
                  </a:cubicBezTo>
                  <a:close/>
                </a:path>
              </a:pathLst>
            </a:custGeom>
            <a:solidFill>
              <a:srgbClr val="E2E3E4"/>
            </a:solidFill>
            <a:ln w="9525" cap="flat">
              <a:noFill/>
              <a:prstDash val="solid"/>
              <a:miter/>
            </a:ln>
          </p:spPr>
          <p:txBody>
            <a:bodyPr bIns="216000" rtlCol="0" anchor="b"/>
            <a:lstStyle/>
            <a:p>
              <a:pPr algn="ctr"/>
              <a:r>
                <a:rPr lang="nb-NO" sz="2133"/>
                <a:t>Tekst</a:t>
              </a:r>
            </a:p>
          </p:txBody>
        </p:sp>
        <p:sp>
          <p:nvSpPr>
            <p:cNvPr id="185" name="Frihåndsform: figur 184">
              <a:extLst>
                <a:ext uri="{FF2B5EF4-FFF2-40B4-BE49-F238E27FC236}">
                  <a16:creationId xmlns:a16="http://schemas.microsoft.com/office/drawing/2014/main" id="{E17E3653-3C0C-43CF-AEA8-BB8F64704D13}"/>
                </a:ext>
              </a:extLst>
            </p:cNvPr>
            <p:cNvSpPr/>
            <p:nvPr/>
          </p:nvSpPr>
          <p:spPr>
            <a:xfrm>
              <a:off x="6790409" y="1975293"/>
              <a:ext cx="431039" cy="367651"/>
            </a:xfrm>
            <a:custGeom>
              <a:avLst/>
              <a:gdLst>
                <a:gd name="connsiteX0" fmla="*/ 178365 w 323850"/>
                <a:gd name="connsiteY0" fmla="*/ 269946 h 276225"/>
                <a:gd name="connsiteX1" fmla="*/ 320193 w 323850"/>
                <a:gd name="connsiteY1" fmla="*/ 146121 h 276225"/>
                <a:gd name="connsiteX2" fmla="*/ 203597 w 323850"/>
                <a:gd name="connsiteY2" fmla="*/ 7627 h 276225"/>
                <a:gd name="connsiteX3" fmla="*/ 199511 w 323850"/>
                <a:gd name="connsiteY3" fmla="*/ 7342 h 276225"/>
                <a:gd name="connsiteX4" fmla="*/ 63303 w 323850"/>
                <a:gd name="connsiteY4" fmla="*/ 101734 h 276225"/>
                <a:gd name="connsiteX5" fmla="*/ 11202 w 323850"/>
                <a:gd name="connsiteY5" fmla="*/ 123737 h 276225"/>
                <a:gd name="connsiteX6" fmla="*/ 10535 w 323850"/>
                <a:gd name="connsiteY6" fmla="*/ 132119 h 276225"/>
                <a:gd name="connsiteX7" fmla="*/ 58160 w 323850"/>
                <a:gd name="connsiteY7" fmla="*/ 160027 h 276225"/>
                <a:gd name="connsiteX8" fmla="*/ 178365 w 323850"/>
                <a:gd name="connsiteY8" fmla="*/ 269946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850" h="276225">
                  <a:moveTo>
                    <a:pt x="178365" y="269946"/>
                  </a:moveTo>
                  <a:cubicBezTo>
                    <a:pt x="251374" y="273899"/>
                    <a:pt x="314258" y="218997"/>
                    <a:pt x="320193" y="146121"/>
                  </a:cubicBezTo>
                  <a:cubicBezTo>
                    <a:pt x="326241" y="75674"/>
                    <a:pt x="274034" y="13676"/>
                    <a:pt x="203597" y="7627"/>
                  </a:cubicBezTo>
                  <a:cubicBezTo>
                    <a:pt x="202235" y="7513"/>
                    <a:pt x="200873" y="7418"/>
                    <a:pt x="199511" y="7342"/>
                  </a:cubicBezTo>
                  <a:cubicBezTo>
                    <a:pt x="137884" y="4017"/>
                    <a:pt x="81829" y="42860"/>
                    <a:pt x="63303" y="101734"/>
                  </a:cubicBezTo>
                  <a:lnTo>
                    <a:pt x="11202" y="123737"/>
                  </a:lnTo>
                  <a:cubicBezTo>
                    <a:pt x="11202" y="123737"/>
                    <a:pt x="2534" y="127452"/>
                    <a:pt x="10535" y="132119"/>
                  </a:cubicBezTo>
                  <a:lnTo>
                    <a:pt x="58160" y="160027"/>
                  </a:lnTo>
                  <a:cubicBezTo>
                    <a:pt x="66742" y="220721"/>
                    <a:pt x="117148" y="266812"/>
                    <a:pt x="178365" y="26994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86" name="Frihåndsform: figur 185">
              <a:extLst>
                <a:ext uri="{FF2B5EF4-FFF2-40B4-BE49-F238E27FC236}">
                  <a16:creationId xmlns:a16="http://schemas.microsoft.com/office/drawing/2014/main" id="{30725DD8-EC84-4DAA-BD58-3037F1EB038A}"/>
                </a:ext>
              </a:extLst>
            </p:cNvPr>
            <p:cNvSpPr/>
            <p:nvPr/>
          </p:nvSpPr>
          <p:spPr>
            <a:xfrm>
              <a:off x="5751936" y="1975916"/>
              <a:ext cx="431039" cy="367651"/>
            </a:xfrm>
            <a:custGeom>
              <a:avLst/>
              <a:gdLst>
                <a:gd name="connsiteX0" fmla="*/ 149543 w 323850"/>
                <a:gd name="connsiteY0" fmla="*/ 7350 h 276225"/>
                <a:gd name="connsiteX1" fmla="*/ 7621 w 323850"/>
                <a:gd name="connsiteY1" fmla="*/ 131175 h 276225"/>
                <a:gd name="connsiteX2" fmla="*/ 124216 w 323850"/>
                <a:gd name="connsiteY2" fmla="*/ 269669 h 276225"/>
                <a:gd name="connsiteX3" fmla="*/ 128302 w 323850"/>
                <a:gd name="connsiteY3" fmla="*/ 269954 h 276225"/>
                <a:gd name="connsiteX4" fmla="*/ 264510 w 323850"/>
                <a:gd name="connsiteY4" fmla="*/ 175562 h 276225"/>
                <a:gd name="connsiteX5" fmla="*/ 316612 w 323850"/>
                <a:gd name="connsiteY5" fmla="*/ 153559 h 276225"/>
                <a:gd name="connsiteX6" fmla="*/ 317278 w 323850"/>
                <a:gd name="connsiteY6" fmla="*/ 145272 h 276225"/>
                <a:gd name="connsiteX7" fmla="*/ 269653 w 323850"/>
                <a:gd name="connsiteY7" fmla="*/ 117268 h 276225"/>
                <a:gd name="connsiteX8" fmla="*/ 149924 w 323850"/>
                <a:gd name="connsiteY8" fmla="*/ 7826 h 2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850" h="276225">
                  <a:moveTo>
                    <a:pt x="149543" y="7350"/>
                  </a:moveTo>
                  <a:cubicBezTo>
                    <a:pt x="76496" y="3340"/>
                    <a:pt x="13554" y="58261"/>
                    <a:pt x="7621" y="131175"/>
                  </a:cubicBezTo>
                  <a:cubicBezTo>
                    <a:pt x="1572" y="201622"/>
                    <a:pt x="53779" y="263620"/>
                    <a:pt x="124216" y="269669"/>
                  </a:cubicBezTo>
                  <a:cubicBezTo>
                    <a:pt x="125578" y="269783"/>
                    <a:pt x="126940" y="269878"/>
                    <a:pt x="128302" y="269954"/>
                  </a:cubicBezTo>
                  <a:cubicBezTo>
                    <a:pt x="189938" y="273317"/>
                    <a:pt x="246012" y="234455"/>
                    <a:pt x="264510" y="175562"/>
                  </a:cubicBezTo>
                  <a:lnTo>
                    <a:pt x="316612" y="153559"/>
                  </a:lnTo>
                  <a:cubicBezTo>
                    <a:pt x="316612" y="153559"/>
                    <a:pt x="325279" y="149844"/>
                    <a:pt x="317278" y="145272"/>
                  </a:cubicBezTo>
                  <a:lnTo>
                    <a:pt x="269653" y="117268"/>
                  </a:lnTo>
                  <a:cubicBezTo>
                    <a:pt x="260966" y="56890"/>
                    <a:pt x="210836" y="11065"/>
                    <a:pt x="149924" y="782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87" name="Frihåndsform: figur 186">
              <a:extLst>
                <a:ext uri="{FF2B5EF4-FFF2-40B4-BE49-F238E27FC236}">
                  <a16:creationId xmlns:a16="http://schemas.microsoft.com/office/drawing/2014/main" id="{D589F191-B41A-4093-AF2E-C957B886AC9B}"/>
                </a:ext>
              </a:extLst>
            </p:cNvPr>
            <p:cNvSpPr/>
            <p:nvPr/>
          </p:nvSpPr>
          <p:spPr>
            <a:xfrm>
              <a:off x="6951871" y="2104107"/>
              <a:ext cx="177487" cy="25355"/>
            </a:xfrm>
            <a:custGeom>
              <a:avLst/>
              <a:gdLst>
                <a:gd name="connsiteX0" fmla="*/ 11716 w 133350"/>
                <a:gd name="connsiteY0" fmla="*/ 11716 h 19050"/>
                <a:gd name="connsiteX1" fmla="*/ 125349 w 133350"/>
                <a:gd name="connsiteY1" fmla="*/ 1171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19050">
                  <a:moveTo>
                    <a:pt x="11716" y="11716"/>
                  </a:moveTo>
                  <a:lnTo>
                    <a:pt x="125349" y="11716"/>
                  </a:lnTo>
                </a:path>
              </a:pathLst>
            </a:custGeom>
            <a:ln w="15621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88" name="Frihåndsform: figur 187">
              <a:extLst>
                <a:ext uri="{FF2B5EF4-FFF2-40B4-BE49-F238E27FC236}">
                  <a16:creationId xmlns:a16="http://schemas.microsoft.com/office/drawing/2014/main" id="{218383CF-C474-4AF9-8A9F-699F2E6D5A6B}"/>
                </a:ext>
              </a:extLst>
            </p:cNvPr>
            <p:cNvSpPr/>
            <p:nvPr/>
          </p:nvSpPr>
          <p:spPr>
            <a:xfrm>
              <a:off x="6951871" y="2144549"/>
              <a:ext cx="177487" cy="25355"/>
            </a:xfrm>
            <a:custGeom>
              <a:avLst/>
              <a:gdLst>
                <a:gd name="connsiteX0" fmla="*/ 11716 w 133350"/>
                <a:gd name="connsiteY0" fmla="*/ 11716 h 19050"/>
                <a:gd name="connsiteX1" fmla="*/ 125349 w 133350"/>
                <a:gd name="connsiteY1" fmla="*/ 1171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19050">
                  <a:moveTo>
                    <a:pt x="11716" y="11716"/>
                  </a:moveTo>
                  <a:lnTo>
                    <a:pt x="125349" y="11716"/>
                  </a:lnTo>
                </a:path>
              </a:pathLst>
            </a:custGeom>
            <a:ln w="15621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89" name="Frihåndsform: figur 188">
              <a:extLst>
                <a:ext uri="{FF2B5EF4-FFF2-40B4-BE49-F238E27FC236}">
                  <a16:creationId xmlns:a16="http://schemas.microsoft.com/office/drawing/2014/main" id="{8B93DC9B-920C-42D4-9F74-773C1F50A0F5}"/>
                </a:ext>
              </a:extLst>
            </p:cNvPr>
            <p:cNvSpPr/>
            <p:nvPr/>
          </p:nvSpPr>
          <p:spPr>
            <a:xfrm>
              <a:off x="6951871" y="2184991"/>
              <a:ext cx="177487" cy="25355"/>
            </a:xfrm>
            <a:custGeom>
              <a:avLst/>
              <a:gdLst>
                <a:gd name="connsiteX0" fmla="*/ 11716 w 133350"/>
                <a:gd name="connsiteY0" fmla="*/ 11716 h 19050"/>
                <a:gd name="connsiteX1" fmla="*/ 125349 w 133350"/>
                <a:gd name="connsiteY1" fmla="*/ 11716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19050">
                  <a:moveTo>
                    <a:pt x="11716" y="11716"/>
                  </a:moveTo>
                  <a:lnTo>
                    <a:pt x="125349" y="11716"/>
                  </a:lnTo>
                </a:path>
              </a:pathLst>
            </a:custGeom>
            <a:ln w="15621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0" name="Frihåndsform: figur 189">
              <a:extLst>
                <a:ext uri="{FF2B5EF4-FFF2-40B4-BE49-F238E27FC236}">
                  <a16:creationId xmlns:a16="http://schemas.microsoft.com/office/drawing/2014/main" id="{A71031B7-31EE-4844-8EA5-0996B0A07249}"/>
                </a:ext>
              </a:extLst>
            </p:cNvPr>
            <p:cNvSpPr/>
            <p:nvPr/>
          </p:nvSpPr>
          <p:spPr>
            <a:xfrm>
              <a:off x="5817226" y="2126167"/>
              <a:ext cx="63388" cy="63388"/>
            </a:xfrm>
            <a:custGeom>
              <a:avLst/>
              <a:gdLst>
                <a:gd name="connsiteX0" fmla="*/ 25622 w 47625"/>
                <a:gd name="connsiteY0" fmla="*/ 43910 h 47625"/>
                <a:gd name="connsiteX1" fmla="*/ 7144 w 47625"/>
                <a:gd name="connsiteY1" fmla="*/ 25622 h 47625"/>
                <a:gd name="connsiteX2" fmla="*/ 25432 w 47625"/>
                <a:gd name="connsiteY2" fmla="*/ 7144 h 47625"/>
                <a:gd name="connsiteX3" fmla="*/ 43910 w 47625"/>
                <a:gd name="connsiteY3" fmla="*/ 25432 h 47625"/>
                <a:gd name="connsiteX4" fmla="*/ 43910 w 47625"/>
                <a:gd name="connsiteY4" fmla="*/ 25527 h 47625"/>
                <a:gd name="connsiteX5" fmla="*/ 25622 w 47625"/>
                <a:gd name="connsiteY5" fmla="*/ 4391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47625">
                  <a:moveTo>
                    <a:pt x="25622" y="43910"/>
                  </a:moveTo>
                  <a:cubicBezTo>
                    <a:pt x="15469" y="43968"/>
                    <a:pt x="7201" y="35776"/>
                    <a:pt x="7144" y="25622"/>
                  </a:cubicBezTo>
                  <a:cubicBezTo>
                    <a:pt x="7096" y="15469"/>
                    <a:pt x="15278" y="7201"/>
                    <a:pt x="25432" y="7144"/>
                  </a:cubicBezTo>
                  <a:cubicBezTo>
                    <a:pt x="35586" y="7096"/>
                    <a:pt x="43853" y="15278"/>
                    <a:pt x="43910" y="25432"/>
                  </a:cubicBezTo>
                  <a:cubicBezTo>
                    <a:pt x="43910" y="25461"/>
                    <a:pt x="43910" y="25499"/>
                    <a:pt x="43910" y="25527"/>
                  </a:cubicBezTo>
                  <a:cubicBezTo>
                    <a:pt x="43910" y="35643"/>
                    <a:pt x="35738" y="43853"/>
                    <a:pt x="25622" y="4391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1" name="Frihåndsform: figur 190">
              <a:extLst>
                <a:ext uri="{FF2B5EF4-FFF2-40B4-BE49-F238E27FC236}">
                  <a16:creationId xmlns:a16="http://schemas.microsoft.com/office/drawing/2014/main" id="{F6CB5BC7-41B0-48C0-9FEB-4AAF3AFB770E}"/>
                </a:ext>
              </a:extLst>
            </p:cNvPr>
            <p:cNvSpPr/>
            <p:nvPr/>
          </p:nvSpPr>
          <p:spPr>
            <a:xfrm>
              <a:off x="5896587" y="2126167"/>
              <a:ext cx="63388" cy="63388"/>
            </a:xfrm>
            <a:custGeom>
              <a:avLst/>
              <a:gdLst>
                <a:gd name="connsiteX0" fmla="*/ 25623 w 47625"/>
                <a:gd name="connsiteY0" fmla="*/ 43910 h 47625"/>
                <a:gd name="connsiteX1" fmla="*/ 7144 w 47625"/>
                <a:gd name="connsiteY1" fmla="*/ 25622 h 47625"/>
                <a:gd name="connsiteX2" fmla="*/ 25432 w 47625"/>
                <a:gd name="connsiteY2" fmla="*/ 7144 h 47625"/>
                <a:gd name="connsiteX3" fmla="*/ 43911 w 47625"/>
                <a:gd name="connsiteY3" fmla="*/ 25432 h 47625"/>
                <a:gd name="connsiteX4" fmla="*/ 43911 w 47625"/>
                <a:gd name="connsiteY4" fmla="*/ 25527 h 47625"/>
                <a:gd name="connsiteX5" fmla="*/ 25623 w 47625"/>
                <a:gd name="connsiteY5" fmla="*/ 4391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47625">
                  <a:moveTo>
                    <a:pt x="25623" y="43910"/>
                  </a:moveTo>
                  <a:cubicBezTo>
                    <a:pt x="15469" y="43968"/>
                    <a:pt x="7201" y="35776"/>
                    <a:pt x="7144" y="25622"/>
                  </a:cubicBezTo>
                  <a:cubicBezTo>
                    <a:pt x="7087" y="15469"/>
                    <a:pt x="15278" y="7201"/>
                    <a:pt x="25432" y="7144"/>
                  </a:cubicBezTo>
                  <a:cubicBezTo>
                    <a:pt x="35586" y="7096"/>
                    <a:pt x="43853" y="15278"/>
                    <a:pt x="43911" y="25432"/>
                  </a:cubicBezTo>
                  <a:cubicBezTo>
                    <a:pt x="43911" y="25461"/>
                    <a:pt x="43911" y="25499"/>
                    <a:pt x="43911" y="25527"/>
                  </a:cubicBezTo>
                  <a:cubicBezTo>
                    <a:pt x="43863" y="35624"/>
                    <a:pt x="35719" y="43806"/>
                    <a:pt x="25623" y="4391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2" name="Frihåndsform: figur 191">
              <a:extLst>
                <a:ext uri="{FF2B5EF4-FFF2-40B4-BE49-F238E27FC236}">
                  <a16:creationId xmlns:a16="http://schemas.microsoft.com/office/drawing/2014/main" id="{EA377F38-F350-436E-A9AE-EDE47FF9D09F}"/>
                </a:ext>
              </a:extLst>
            </p:cNvPr>
            <p:cNvSpPr/>
            <p:nvPr/>
          </p:nvSpPr>
          <p:spPr>
            <a:xfrm>
              <a:off x="5976076" y="2126167"/>
              <a:ext cx="63388" cy="63388"/>
            </a:xfrm>
            <a:custGeom>
              <a:avLst/>
              <a:gdLst>
                <a:gd name="connsiteX0" fmla="*/ 25527 w 47625"/>
                <a:gd name="connsiteY0" fmla="*/ 43910 h 47625"/>
                <a:gd name="connsiteX1" fmla="*/ 7144 w 47625"/>
                <a:gd name="connsiteY1" fmla="*/ 25527 h 47625"/>
                <a:gd name="connsiteX2" fmla="*/ 25527 w 47625"/>
                <a:gd name="connsiteY2" fmla="*/ 7144 h 47625"/>
                <a:gd name="connsiteX3" fmla="*/ 43910 w 47625"/>
                <a:gd name="connsiteY3" fmla="*/ 25527 h 47625"/>
                <a:gd name="connsiteX4" fmla="*/ 25527 w 47625"/>
                <a:gd name="connsiteY4" fmla="*/ 43910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25527" y="43910"/>
                  </a:moveTo>
                  <a:cubicBezTo>
                    <a:pt x="15373" y="43910"/>
                    <a:pt x="7144" y="35681"/>
                    <a:pt x="7144" y="25527"/>
                  </a:cubicBezTo>
                  <a:cubicBezTo>
                    <a:pt x="7144" y="15373"/>
                    <a:pt x="15373" y="7144"/>
                    <a:pt x="25527" y="7144"/>
                  </a:cubicBezTo>
                  <a:cubicBezTo>
                    <a:pt x="35681" y="7144"/>
                    <a:pt x="43910" y="15373"/>
                    <a:pt x="43910" y="25527"/>
                  </a:cubicBezTo>
                  <a:cubicBezTo>
                    <a:pt x="43910" y="35681"/>
                    <a:pt x="35681" y="43910"/>
                    <a:pt x="25527" y="4391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3" name="Frihåndsform: figur 192">
              <a:extLst>
                <a:ext uri="{FF2B5EF4-FFF2-40B4-BE49-F238E27FC236}">
                  <a16:creationId xmlns:a16="http://schemas.microsoft.com/office/drawing/2014/main" id="{2268D587-CC49-47B9-83D4-56263C96CF25}"/>
                </a:ext>
              </a:extLst>
            </p:cNvPr>
            <p:cNvSpPr/>
            <p:nvPr/>
          </p:nvSpPr>
          <p:spPr>
            <a:xfrm>
              <a:off x="6423585" y="2282599"/>
              <a:ext cx="114098" cy="177487"/>
            </a:xfrm>
            <a:custGeom>
              <a:avLst/>
              <a:gdLst>
                <a:gd name="connsiteX0" fmla="*/ 85542 w 85725"/>
                <a:gd name="connsiteY0" fmla="*/ 127166 h 133350"/>
                <a:gd name="connsiteX1" fmla="*/ 35726 w 85725"/>
                <a:gd name="connsiteY1" fmla="*/ 127166 h 133350"/>
                <a:gd name="connsiteX2" fmla="*/ 7151 w 85725"/>
                <a:gd name="connsiteY2" fmla="*/ 99743 h 133350"/>
                <a:gd name="connsiteX3" fmla="*/ 7151 w 85725"/>
                <a:gd name="connsiteY3" fmla="*/ 98591 h 133350"/>
                <a:gd name="connsiteX4" fmla="*/ 7151 w 85725"/>
                <a:gd name="connsiteY4" fmla="*/ 35726 h 133350"/>
                <a:gd name="connsiteX5" fmla="*/ 34573 w 85725"/>
                <a:gd name="connsiteY5" fmla="*/ 7151 h 133350"/>
                <a:gd name="connsiteX6" fmla="*/ 35726 w 85725"/>
                <a:gd name="connsiteY6" fmla="*/ 7151 h 133350"/>
                <a:gd name="connsiteX7" fmla="*/ 56967 w 85725"/>
                <a:gd name="connsiteY7" fmla="*/ 7151 h 133350"/>
                <a:gd name="connsiteX8" fmla="*/ 85542 w 85725"/>
                <a:gd name="connsiteY8" fmla="*/ 34573 h 133350"/>
                <a:gd name="connsiteX9" fmla="*/ 85542 w 85725"/>
                <a:gd name="connsiteY9" fmla="*/ 35726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133350">
                  <a:moveTo>
                    <a:pt x="85542" y="127166"/>
                  </a:moveTo>
                  <a:lnTo>
                    <a:pt x="35726" y="127166"/>
                  </a:lnTo>
                  <a:cubicBezTo>
                    <a:pt x="20267" y="127480"/>
                    <a:pt x="7465" y="115212"/>
                    <a:pt x="7151" y="99743"/>
                  </a:cubicBezTo>
                  <a:cubicBezTo>
                    <a:pt x="7141" y="99362"/>
                    <a:pt x="7141" y="98972"/>
                    <a:pt x="7151" y="98591"/>
                  </a:cubicBezTo>
                  <a:lnTo>
                    <a:pt x="7151" y="35726"/>
                  </a:lnTo>
                  <a:cubicBezTo>
                    <a:pt x="6837" y="20267"/>
                    <a:pt x="19105" y="7465"/>
                    <a:pt x="34573" y="7151"/>
                  </a:cubicBezTo>
                  <a:cubicBezTo>
                    <a:pt x="34954" y="7141"/>
                    <a:pt x="35345" y="7141"/>
                    <a:pt x="35726" y="7151"/>
                  </a:cubicBezTo>
                  <a:lnTo>
                    <a:pt x="56967" y="7151"/>
                  </a:lnTo>
                  <a:cubicBezTo>
                    <a:pt x="72426" y="6837"/>
                    <a:pt x="85227" y="19105"/>
                    <a:pt x="85542" y="34573"/>
                  </a:cubicBezTo>
                  <a:cubicBezTo>
                    <a:pt x="85551" y="34954"/>
                    <a:pt x="85551" y="35345"/>
                    <a:pt x="85542" y="35726"/>
                  </a:cubicBezTo>
                  <a:close/>
                </a:path>
              </a:pathLst>
            </a:custGeom>
            <a:solidFill>
              <a:srgbClr val="F9C67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4" name="Frihåndsform: figur 193">
              <a:extLst>
                <a:ext uri="{FF2B5EF4-FFF2-40B4-BE49-F238E27FC236}">
                  <a16:creationId xmlns:a16="http://schemas.microsoft.com/office/drawing/2014/main" id="{1D5BF26E-940E-4FB9-AD23-4C815B518048}"/>
                </a:ext>
              </a:extLst>
            </p:cNvPr>
            <p:cNvSpPr/>
            <p:nvPr/>
          </p:nvSpPr>
          <p:spPr>
            <a:xfrm>
              <a:off x="6221768" y="2092191"/>
              <a:ext cx="532460" cy="126776"/>
            </a:xfrm>
            <a:custGeom>
              <a:avLst/>
              <a:gdLst>
                <a:gd name="connsiteX0" fmla="*/ 366141 w 400050"/>
                <a:gd name="connsiteY0" fmla="*/ 88678 h 95250"/>
                <a:gd name="connsiteX1" fmla="*/ 35719 w 400050"/>
                <a:gd name="connsiteY1" fmla="*/ 88678 h 95250"/>
                <a:gd name="connsiteX2" fmla="*/ 7144 w 400050"/>
                <a:gd name="connsiteY2" fmla="*/ 60103 h 95250"/>
                <a:gd name="connsiteX3" fmla="*/ 7144 w 400050"/>
                <a:gd name="connsiteY3" fmla="*/ 35719 h 95250"/>
                <a:gd name="connsiteX4" fmla="*/ 35719 w 400050"/>
                <a:gd name="connsiteY4" fmla="*/ 7144 h 95250"/>
                <a:gd name="connsiteX5" fmla="*/ 366141 w 400050"/>
                <a:gd name="connsiteY5" fmla="*/ 7144 h 95250"/>
                <a:gd name="connsiteX6" fmla="*/ 394716 w 400050"/>
                <a:gd name="connsiteY6" fmla="*/ 35719 h 95250"/>
                <a:gd name="connsiteX7" fmla="*/ 394716 w 400050"/>
                <a:gd name="connsiteY7" fmla="*/ 60103 h 95250"/>
                <a:gd name="connsiteX8" fmla="*/ 366141 w 400050"/>
                <a:gd name="connsiteY8" fmla="*/ 8867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050" h="95250">
                  <a:moveTo>
                    <a:pt x="366141" y="88678"/>
                  </a:moveTo>
                  <a:lnTo>
                    <a:pt x="35719" y="88678"/>
                  </a:lnTo>
                  <a:cubicBezTo>
                    <a:pt x="19936" y="88678"/>
                    <a:pt x="7144" y="75886"/>
                    <a:pt x="7144" y="60103"/>
                  </a:cubicBezTo>
                  <a:lnTo>
                    <a:pt x="7144" y="35719"/>
                  </a:lnTo>
                  <a:cubicBezTo>
                    <a:pt x="7144" y="19936"/>
                    <a:pt x="19936" y="7144"/>
                    <a:pt x="35719" y="7144"/>
                  </a:cubicBezTo>
                  <a:lnTo>
                    <a:pt x="366141" y="7144"/>
                  </a:lnTo>
                  <a:cubicBezTo>
                    <a:pt x="381924" y="7144"/>
                    <a:pt x="394716" y="19936"/>
                    <a:pt x="394716" y="35719"/>
                  </a:cubicBezTo>
                  <a:lnTo>
                    <a:pt x="394716" y="60103"/>
                  </a:lnTo>
                  <a:cubicBezTo>
                    <a:pt x="394716" y="75886"/>
                    <a:pt x="381924" y="88678"/>
                    <a:pt x="366141" y="88678"/>
                  </a:cubicBezTo>
                </a:path>
              </a:pathLst>
            </a:custGeom>
            <a:solidFill>
              <a:srgbClr val="F9C67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5" name="Frihåndsform: figur 194">
              <a:extLst>
                <a:ext uri="{FF2B5EF4-FFF2-40B4-BE49-F238E27FC236}">
                  <a16:creationId xmlns:a16="http://schemas.microsoft.com/office/drawing/2014/main" id="{2A3D5DC3-B166-42B7-AF85-1A024CB6E599}"/>
                </a:ext>
              </a:extLst>
            </p:cNvPr>
            <p:cNvSpPr/>
            <p:nvPr/>
          </p:nvSpPr>
          <p:spPr>
            <a:xfrm>
              <a:off x="6250038" y="1944116"/>
              <a:ext cx="469072" cy="405683"/>
            </a:xfrm>
            <a:custGeom>
              <a:avLst/>
              <a:gdLst>
                <a:gd name="connsiteX0" fmla="*/ 346234 w 352425"/>
                <a:gd name="connsiteY0" fmla="*/ 152876 h 304800"/>
                <a:gd name="connsiteX1" fmla="*/ 176594 w 352425"/>
                <a:gd name="connsiteY1" fmla="*/ 298704 h 304800"/>
                <a:gd name="connsiteX2" fmla="*/ 7144 w 352425"/>
                <a:gd name="connsiteY2" fmla="*/ 152876 h 304800"/>
                <a:gd name="connsiteX3" fmla="*/ 176784 w 352425"/>
                <a:gd name="connsiteY3" fmla="*/ 7144 h 304800"/>
                <a:gd name="connsiteX4" fmla="*/ 346234 w 352425"/>
                <a:gd name="connsiteY4" fmla="*/ 152876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425" h="304800">
                  <a:moveTo>
                    <a:pt x="346234" y="152876"/>
                  </a:moveTo>
                  <a:cubicBezTo>
                    <a:pt x="346234" y="233458"/>
                    <a:pt x="270034" y="298704"/>
                    <a:pt x="176594" y="298704"/>
                  </a:cubicBezTo>
                  <a:cubicBezTo>
                    <a:pt x="83153" y="298704"/>
                    <a:pt x="7144" y="232982"/>
                    <a:pt x="7144" y="152876"/>
                  </a:cubicBezTo>
                  <a:cubicBezTo>
                    <a:pt x="7144" y="72771"/>
                    <a:pt x="83344" y="7144"/>
                    <a:pt x="176784" y="7144"/>
                  </a:cubicBezTo>
                  <a:cubicBezTo>
                    <a:pt x="270224" y="7144"/>
                    <a:pt x="346234" y="71914"/>
                    <a:pt x="346234" y="15287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6" name="Frihåndsform: figur 195">
              <a:extLst>
                <a:ext uri="{FF2B5EF4-FFF2-40B4-BE49-F238E27FC236}">
                  <a16:creationId xmlns:a16="http://schemas.microsoft.com/office/drawing/2014/main" id="{42391AAB-9348-465B-8ABA-7734BDC3708D}"/>
                </a:ext>
              </a:extLst>
            </p:cNvPr>
            <p:cNvSpPr/>
            <p:nvPr/>
          </p:nvSpPr>
          <p:spPr>
            <a:xfrm>
              <a:off x="6309243" y="2056566"/>
              <a:ext cx="354973" cy="190164"/>
            </a:xfrm>
            <a:custGeom>
              <a:avLst/>
              <a:gdLst>
                <a:gd name="connsiteX0" fmla="*/ 224409 w 266700"/>
                <a:gd name="connsiteY0" fmla="*/ 142208 h 142875"/>
                <a:gd name="connsiteX1" fmla="*/ 46101 w 266700"/>
                <a:gd name="connsiteY1" fmla="*/ 142208 h 142875"/>
                <a:gd name="connsiteX2" fmla="*/ 7144 w 266700"/>
                <a:gd name="connsiteY2" fmla="*/ 103251 h 142875"/>
                <a:gd name="connsiteX3" fmla="*/ 7144 w 266700"/>
                <a:gd name="connsiteY3" fmla="*/ 46101 h 142875"/>
                <a:gd name="connsiteX4" fmla="*/ 46101 w 266700"/>
                <a:gd name="connsiteY4" fmla="*/ 7144 h 142875"/>
                <a:gd name="connsiteX5" fmla="*/ 224409 w 266700"/>
                <a:gd name="connsiteY5" fmla="*/ 7144 h 142875"/>
                <a:gd name="connsiteX6" fmla="*/ 263366 w 266700"/>
                <a:gd name="connsiteY6" fmla="*/ 46101 h 142875"/>
                <a:gd name="connsiteX7" fmla="*/ 263366 w 266700"/>
                <a:gd name="connsiteY7" fmla="*/ 103251 h 142875"/>
                <a:gd name="connsiteX8" fmla="*/ 224409 w 266700"/>
                <a:gd name="connsiteY8" fmla="*/ 142208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700" h="142875">
                  <a:moveTo>
                    <a:pt x="224409" y="142208"/>
                  </a:moveTo>
                  <a:lnTo>
                    <a:pt x="46101" y="142208"/>
                  </a:lnTo>
                  <a:cubicBezTo>
                    <a:pt x="24584" y="142208"/>
                    <a:pt x="7144" y="124768"/>
                    <a:pt x="7144" y="103251"/>
                  </a:cubicBezTo>
                  <a:lnTo>
                    <a:pt x="7144" y="46101"/>
                  </a:lnTo>
                  <a:cubicBezTo>
                    <a:pt x="7144" y="24584"/>
                    <a:pt x="24584" y="7144"/>
                    <a:pt x="46101" y="7144"/>
                  </a:cubicBezTo>
                  <a:lnTo>
                    <a:pt x="224409" y="7144"/>
                  </a:lnTo>
                  <a:cubicBezTo>
                    <a:pt x="245926" y="7144"/>
                    <a:pt x="263366" y="24584"/>
                    <a:pt x="263366" y="46101"/>
                  </a:cubicBezTo>
                  <a:lnTo>
                    <a:pt x="263366" y="103251"/>
                  </a:lnTo>
                  <a:cubicBezTo>
                    <a:pt x="263366" y="124768"/>
                    <a:pt x="245926" y="142208"/>
                    <a:pt x="224409" y="142208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7" name="Frihåndsform: figur 196">
              <a:extLst>
                <a:ext uri="{FF2B5EF4-FFF2-40B4-BE49-F238E27FC236}">
                  <a16:creationId xmlns:a16="http://schemas.microsoft.com/office/drawing/2014/main" id="{D8788AE5-228C-4C9F-9632-59E053A699D4}"/>
                </a:ext>
              </a:extLst>
            </p:cNvPr>
            <p:cNvSpPr/>
            <p:nvPr/>
          </p:nvSpPr>
          <p:spPr>
            <a:xfrm>
              <a:off x="6364897" y="2120335"/>
              <a:ext cx="63388" cy="63388"/>
            </a:xfrm>
            <a:custGeom>
              <a:avLst/>
              <a:gdLst>
                <a:gd name="connsiteX0" fmla="*/ 26861 w 47625"/>
                <a:gd name="connsiteY0" fmla="*/ 46387 h 47625"/>
                <a:gd name="connsiteX1" fmla="*/ 7144 w 47625"/>
                <a:gd name="connsiteY1" fmla="*/ 26861 h 47625"/>
                <a:gd name="connsiteX2" fmla="*/ 26670 w 47625"/>
                <a:gd name="connsiteY2" fmla="*/ 7144 h 47625"/>
                <a:gd name="connsiteX3" fmla="*/ 46387 w 47625"/>
                <a:gd name="connsiteY3" fmla="*/ 26670 h 47625"/>
                <a:gd name="connsiteX4" fmla="*/ 46387 w 47625"/>
                <a:gd name="connsiteY4" fmla="*/ 26765 h 47625"/>
                <a:gd name="connsiteX5" fmla="*/ 26956 w 47625"/>
                <a:gd name="connsiteY5" fmla="*/ 46387 h 47625"/>
                <a:gd name="connsiteX6" fmla="*/ 26861 w 47625"/>
                <a:gd name="connsiteY6" fmla="*/ 4638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47625">
                  <a:moveTo>
                    <a:pt x="26861" y="46387"/>
                  </a:moveTo>
                  <a:cubicBezTo>
                    <a:pt x="16021" y="46444"/>
                    <a:pt x="7201" y="37700"/>
                    <a:pt x="7144" y="26861"/>
                  </a:cubicBezTo>
                  <a:cubicBezTo>
                    <a:pt x="7087" y="16021"/>
                    <a:pt x="15831" y="7201"/>
                    <a:pt x="26670" y="7144"/>
                  </a:cubicBezTo>
                  <a:cubicBezTo>
                    <a:pt x="37510" y="7096"/>
                    <a:pt x="46330" y="15831"/>
                    <a:pt x="46387" y="26670"/>
                  </a:cubicBezTo>
                  <a:cubicBezTo>
                    <a:pt x="46387" y="26699"/>
                    <a:pt x="46387" y="26737"/>
                    <a:pt x="46387" y="26765"/>
                  </a:cubicBezTo>
                  <a:cubicBezTo>
                    <a:pt x="46444" y="37548"/>
                    <a:pt x="37738" y="46330"/>
                    <a:pt x="26956" y="46387"/>
                  </a:cubicBezTo>
                  <a:cubicBezTo>
                    <a:pt x="26927" y="46387"/>
                    <a:pt x="26889" y="46387"/>
                    <a:pt x="26861" y="4638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8" name="Frihåndsform: figur 197">
              <a:extLst>
                <a:ext uri="{FF2B5EF4-FFF2-40B4-BE49-F238E27FC236}">
                  <a16:creationId xmlns:a16="http://schemas.microsoft.com/office/drawing/2014/main" id="{7C3AE13A-AA8E-4FF2-82C5-804BC293FEF3}"/>
                </a:ext>
              </a:extLst>
            </p:cNvPr>
            <p:cNvSpPr/>
            <p:nvPr/>
          </p:nvSpPr>
          <p:spPr>
            <a:xfrm>
              <a:off x="6534271" y="2120335"/>
              <a:ext cx="63388" cy="63388"/>
            </a:xfrm>
            <a:custGeom>
              <a:avLst/>
              <a:gdLst>
                <a:gd name="connsiteX0" fmla="*/ 26765 w 47625"/>
                <a:gd name="connsiteY0" fmla="*/ 46387 h 47625"/>
                <a:gd name="connsiteX1" fmla="*/ 7144 w 47625"/>
                <a:gd name="connsiteY1" fmla="*/ 26765 h 47625"/>
                <a:gd name="connsiteX2" fmla="*/ 26765 w 47625"/>
                <a:gd name="connsiteY2" fmla="*/ 7144 h 47625"/>
                <a:gd name="connsiteX3" fmla="*/ 46387 w 47625"/>
                <a:gd name="connsiteY3" fmla="*/ 26765 h 47625"/>
                <a:gd name="connsiteX4" fmla="*/ 26956 w 47625"/>
                <a:gd name="connsiteY4" fmla="*/ 46387 h 47625"/>
                <a:gd name="connsiteX5" fmla="*/ 26765 w 47625"/>
                <a:gd name="connsiteY5" fmla="*/ 46387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625" h="47625">
                  <a:moveTo>
                    <a:pt x="26765" y="46387"/>
                  </a:moveTo>
                  <a:cubicBezTo>
                    <a:pt x="15926" y="46387"/>
                    <a:pt x="7144" y="37605"/>
                    <a:pt x="7144" y="26765"/>
                  </a:cubicBezTo>
                  <a:cubicBezTo>
                    <a:pt x="7144" y="15926"/>
                    <a:pt x="15926" y="7144"/>
                    <a:pt x="26765" y="7144"/>
                  </a:cubicBezTo>
                  <a:cubicBezTo>
                    <a:pt x="37605" y="7144"/>
                    <a:pt x="46387" y="15926"/>
                    <a:pt x="46387" y="26765"/>
                  </a:cubicBezTo>
                  <a:cubicBezTo>
                    <a:pt x="46444" y="37548"/>
                    <a:pt x="37738" y="46330"/>
                    <a:pt x="26956" y="46387"/>
                  </a:cubicBezTo>
                  <a:cubicBezTo>
                    <a:pt x="26889" y="46387"/>
                    <a:pt x="26832" y="46387"/>
                    <a:pt x="26765" y="4638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199" name="Frihåndsform: figur 198">
              <a:extLst>
                <a:ext uri="{FF2B5EF4-FFF2-40B4-BE49-F238E27FC236}">
                  <a16:creationId xmlns:a16="http://schemas.microsoft.com/office/drawing/2014/main" id="{89AEC01D-E237-4AD3-86E2-A0242098C5CF}"/>
                </a:ext>
              </a:extLst>
            </p:cNvPr>
            <p:cNvSpPr/>
            <p:nvPr/>
          </p:nvSpPr>
          <p:spPr>
            <a:xfrm>
              <a:off x="6472150" y="1905069"/>
              <a:ext cx="25355" cy="63388"/>
            </a:xfrm>
            <a:custGeom>
              <a:avLst/>
              <a:gdLst>
                <a:gd name="connsiteX0" fmla="*/ 7144 w 19050"/>
                <a:gd name="connsiteY0" fmla="*/ 7144 h 47625"/>
                <a:gd name="connsiteX1" fmla="*/ 18479 w 19050"/>
                <a:gd name="connsiteY1" fmla="*/ 7144 h 47625"/>
                <a:gd name="connsiteX2" fmla="*/ 18479 w 19050"/>
                <a:gd name="connsiteY2" fmla="*/ 47244 h 47625"/>
                <a:gd name="connsiteX3" fmla="*/ 7144 w 19050"/>
                <a:gd name="connsiteY3" fmla="*/ 472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7625">
                  <a:moveTo>
                    <a:pt x="7144" y="7144"/>
                  </a:moveTo>
                  <a:lnTo>
                    <a:pt x="18479" y="7144"/>
                  </a:lnTo>
                  <a:lnTo>
                    <a:pt x="18479" y="47244"/>
                  </a:lnTo>
                  <a:lnTo>
                    <a:pt x="7144" y="47244"/>
                  </a:lnTo>
                  <a:close/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0" name="Frihåndsform: figur 199">
              <a:extLst>
                <a:ext uri="{FF2B5EF4-FFF2-40B4-BE49-F238E27FC236}">
                  <a16:creationId xmlns:a16="http://schemas.microsoft.com/office/drawing/2014/main" id="{8D239E11-9ABC-4144-8929-F5C7A3FC3D90}"/>
                </a:ext>
              </a:extLst>
            </p:cNvPr>
            <p:cNvSpPr/>
            <p:nvPr/>
          </p:nvSpPr>
          <p:spPr>
            <a:xfrm>
              <a:off x="6450599" y="1852583"/>
              <a:ext cx="76066" cy="76066"/>
            </a:xfrm>
            <a:custGeom>
              <a:avLst/>
              <a:gdLst>
                <a:gd name="connsiteX0" fmla="*/ 50959 w 57150"/>
                <a:gd name="connsiteY0" fmla="*/ 29051 h 57150"/>
                <a:gd name="connsiteX1" fmla="*/ 29051 w 57150"/>
                <a:gd name="connsiteY1" fmla="*/ 50959 h 57150"/>
                <a:gd name="connsiteX2" fmla="*/ 7144 w 57150"/>
                <a:gd name="connsiteY2" fmla="*/ 29051 h 57150"/>
                <a:gd name="connsiteX3" fmla="*/ 29051 w 57150"/>
                <a:gd name="connsiteY3" fmla="*/ 7144 h 57150"/>
                <a:gd name="connsiteX4" fmla="*/ 50959 w 57150"/>
                <a:gd name="connsiteY4" fmla="*/ 2905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0959" y="29051"/>
                  </a:moveTo>
                  <a:cubicBezTo>
                    <a:pt x="50959" y="41148"/>
                    <a:pt x="41148" y="50959"/>
                    <a:pt x="29051" y="50959"/>
                  </a:cubicBezTo>
                  <a:cubicBezTo>
                    <a:pt x="16954" y="50959"/>
                    <a:pt x="7144" y="41148"/>
                    <a:pt x="7144" y="29051"/>
                  </a:cubicBezTo>
                  <a:cubicBezTo>
                    <a:pt x="7144" y="16952"/>
                    <a:pt x="16954" y="7144"/>
                    <a:pt x="29051" y="7144"/>
                  </a:cubicBezTo>
                  <a:cubicBezTo>
                    <a:pt x="41148" y="7144"/>
                    <a:pt x="50959" y="16952"/>
                    <a:pt x="50959" y="29051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1" name="Frihåndsform: figur 200">
              <a:extLst>
                <a:ext uri="{FF2B5EF4-FFF2-40B4-BE49-F238E27FC236}">
                  <a16:creationId xmlns:a16="http://schemas.microsoft.com/office/drawing/2014/main" id="{4125E402-1599-473F-AF0E-93CC541EB05E}"/>
                </a:ext>
              </a:extLst>
            </p:cNvPr>
            <p:cNvSpPr/>
            <p:nvPr/>
          </p:nvSpPr>
          <p:spPr>
            <a:xfrm>
              <a:off x="6269182" y="2377563"/>
              <a:ext cx="431039" cy="278907"/>
            </a:xfrm>
            <a:custGeom>
              <a:avLst/>
              <a:gdLst>
                <a:gd name="connsiteX0" fmla="*/ 317754 w 323850"/>
                <a:gd name="connsiteY0" fmla="*/ 177260 h 209550"/>
                <a:gd name="connsiteX1" fmla="*/ 317754 w 323850"/>
                <a:gd name="connsiteY1" fmla="*/ 115348 h 209550"/>
                <a:gd name="connsiteX2" fmla="*/ 206121 w 323850"/>
                <a:gd name="connsiteY2" fmla="*/ 7144 h 209550"/>
                <a:gd name="connsiteX3" fmla="*/ 118681 w 323850"/>
                <a:gd name="connsiteY3" fmla="*/ 7144 h 209550"/>
                <a:gd name="connsiteX4" fmla="*/ 7144 w 323850"/>
                <a:gd name="connsiteY4" fmla="*/ 115348 h 209550"/>
                <a:gd name="connsiteX5" fmla="*/ 7144 w 323850"/>
                <a:gd name="connsiteY5" fmla="*/ 177260 h 209550"/>
                <a:gd name="connsiteX6" fmla="*/ 27527 w 323850"/>
                <a:gd name="connsiteY6" fmla="*/ 208121 h 209550"/>
                <a:gd name="connsiteX7" fmla="*/ 296989 w 323850"/>
                <a:gd name="connsiteY7" fmla="*/ 208121 h 209550"/>
                <a:gd name="connsiteX8" fmla="*/ 317754 w 323850"/>
                <a:gd name="connsiteY8" fmla="*/ 17726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3850" h="209550">
                  <a:moveTo>
                    <a:pt x="317754" y="177260"/>
                  </a:moveTo>
                  <a:lnTo>
                    <a:pt x="317754" y="115348"/>
                  </a:lnTo>
                  <a:cubicBezTo>
                    <a:pt x="314582" y="55626"/>
                    <a:pt x="265909" y="8458"/>
                    <a:pt x="206121" y="7144"/>
                  </a:cubicBezTo>
                  <a:lnTo>
                    <a:pt x="118681" y="7144"/>
                  </a:lnTo>
                  <a:cubicBezTo>
                    <a:pt x="58931" y="8506"/>
                    <a:pt x="10316" y="55664"/>
                    <a:pt x="7144" y="115348"/>
                  </a:cubicBezTo>
                  <a:lnTo>
                    <a:pt x="7144" y="177260"/>
                  </a:lnTo>
                  <a:cubicBezTo>
                    <a:pt x="7144" y="194310"/>
                    <a:pt x="16097" y="208121"/>
                    <a:pt x="27527" y="208121"/>
                  </a:cubicBezTo>
                  <a:lnTo>
                    <a:pt x="296989" y="208121"/>
                  </a:lnTo>
                  <a:cubicBezTo>
                    <a:pt x="308420" y="208121"/>
                    <a:pt x="317754" y="194310"/>
                    <a:pt x="317754" y="177260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2" name="Frihåndsform: figur 201">
              <a:extLst>
                <a:ext uri="{FF2B5EF4-FFF2-40B4-BE49-F238E27FC236}">
                  <a16:creationId xmlns:a16="http://schemas.microsoft.com/office/drawing/2014/main" id="{87803255-7E0D-43D4-BF60-49A3782066CE}"/>
                </a:ext>
              </a:extLst>
            </p:cNvPr>
            <p:cNvSpPr/>
            <p:nvPr/>
          </p:nvSpPr>
          <p:spPr>
            <a:xfrm>
              <a:off x="4267260" y="2150634"/>
              <a:ext cx="316940" cy="354973"/>
            </a:xfrm>
            <a:custGeom>
              <a:avLst/>
              <a:gdLst>
                <a:gd name="connsiteX0" fmla="*/ 7144 w 238125"/>
                <a:gd name="connsiteY0" fmla="*/ 7144 h 266700"/>
                <a:gd name="connsiteX1" fmla="*/ 239173 w 238125"/>
                <a:gd name="connsiteY1" fmla="*/ 7144 h 266700"/>
                <a:gd name="connsiteX2" fmla="*/ 239173 w 238125"/>
                <a:gd name="connsiteY2" fmla="*/ 260699 h 266700"/>
                <a:gd name="connsiteX3" fmla="*/ 7144 w 238125"/>
                <a:gd name="connsiteY3" fmla="*/ 260699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266700">
                  <a:moveTo>
                    <a:pt x="7144" y="7144"/>
                  </a:moveTo>
                  <a:lnTo>
                    <a:pt x="239173" y="7144"/>
                  </a:lnTo>
                  <a:lnTo>
                    <a:pt x="239173" y="260699"/>
                  </a:lnTo>
                  <a:lnTo>
                    <a:pt x="7144" y="26069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3" name="Frihåndsform: figur 202">
              <a:extLst>
                <a:ext uri="{FF2B5EF4-FFF2-40B4-BE49-F238E27FC236}">
                  <a16:creationId xmlns:a16="http://schemas.microsoft.com/office/drawing/2014/main" id="{1E36CFA4-2216-49EB-86A4-73E3CFBF6E27}"/>
                </a:ext>
              </a:extLst>
            </p:cNvPr>
            <p:cNvSpPr/>
            <p:nvPr/>
          </p:nvSpPr>
          <p:spPr>
            <a:xfrm>
              <a:off x="4239877" y="2119067"/>
              <a:ext cx="367651" cy="532460"/>
            </a:xfrm>
            <a:custGeom>
              <a:avLst/>
              <a:gdLst>
                <a:gd name="connsiteX0" fmla="*/ 238982 w 276225"/>
                <a:gd name="connsiteY0" fmla="*/ 249269 h 400050"/>
                <a:gd name="connsiteX1" fmla="*/ 38481 w 276225"/>
                <a:gd name="connsiteY1" fmla="*/ 249269 h 400050"/>
                <a:gd name="connsiteX2" fmla="*/ 38481 w 276225"/>
                <a:gd name="connsiteY2" fmla="*/ 54959 h 400050"/>
                <a:gd name="connsiteX3" fmla="*/ 239363 w 276225"/>
                <a:gd name="connsiteY3" fmla="*/ 54959 h 400050"/>
                <a:gd name="connsiteX4" fmla="*/ 269843 w 276225"/>
                <a:gd name="connsiteY4" fmla="*/ 354806 h 400050"/>
                <a:gd name="connsiteX5" fmla="*/ 269843 w 276225"/>
                <a:gd name="connsiteY5" fmla="*/ 52197 h 400050"/>
                <a:gd name="connsiteX6" fmla="*/ 224695 w 276225"/>
                <a:gd name="connsiteY6" fmla="*/ 7144 h 400050"/>
                <a:gd name="connsiteX7" fmla="*/ 52292 w 276225"/>
                <a:gd name="connsiteY7" fmla="*/ 7144 h 400050"/>
                <a:gd name="connsiteX8" fmla="*/ 7144 w 276225"/>
                <a:gd name="connsiteY8" fmla="*/ 52197 h 400050"/>
                <a:gd name="connsiteX9" fmla="*/ 7144 w 276225"/>
                <a:gd name="connsiteY9" fmla="*/ 354806 h 400050"/>
                <a:gd name="connsiteX10" fmla="*/ 52292 w 276225"/>
                <a:gd name="connsiteY10" fmla="*/ 399859 h 400050"/>
                <a:gd name="connsiteX11" fmla="*/ 224695 w 276225"/>
                <a:gd name="connsiteY11" fmla="*/ 399859 h 400050"/>
                <a:gd name="connsiteX12" fmla="*/ 269843 w 276225"/>
                <a:gd name="connsiteY12" fmla="*/ 35480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238982" y="249269"/>
                  </a:moveTo>
                  <a:lnTo>
                    <a:pt x="38481" y="249269"/>
                  </a:lnTo>
                  <a:lnTo>
                    <a:pt x="38481" y="54959"/>
                  </a:lnTo>
                  <a:lnTo>
                    <a:pt x="239363" y="54959"/>
                  </a:lnTo>
                  <a:close/>
                  <a:moveTo>
                    <a:pt x="269843" y="354806"/>
                  </a:moveTo>
                  <a:lnTo>
                    <a:pt x="269843" y="52197"/>
                  </a:lnTo>
                  <a:cubicBezTo>
                    <a:pt x="269738" y="27318"/>
                    <a:pt x="249574" y="7191"/>
                    <a:pt x="224695" y="7144"/>
                  </a:cubicBezTo>
                  <a:lnTo>
                    <a:pt x="52292" y="7144"/>
                  </a:lnTo>
                  <a:cubicBezTo>
                    <a:pt x="27413" y="7191"/>
                    <a:pt x="7249" y="27318"/>
                    <a:pt x="7144" y="52197"/>
                  </a:cubicBezTo>
                  <a:lnTo>
                    <a:pt x="7144" y="354806"/>
                  </a:lnTo>
                  <a:cubicBezTo>
                    <a:pt x="7249" y="379686"/>
                    <a:pt x="27413" y="399812"/>
                    <a:pt x="52292" y="399859"/>
                  </a:cubicBezTo>
                  <a:lnTo>
                    <a:pt x="224695" y="399859"/>
                  </a:lnTo>
                  <a:cubicBezTo>
                    <a:pt x="249574" y="399812"/>
                    <a:pt x="269738" y="379686"/>
                    <a:pt x="269843" y="35480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4" name="Frihåndsform: figur 203">
              <a:extLst>
                <a:ext uri="{FF2B5EF4-FFF2-40B4-BE49-F238E27FC236}">
                  <a16:creationId xmlns:a16="http://schemas.microsoft.com/office/drawing/2014/main" id="{D2F1789E-D5DB-457E-B7B0-DFA2406F8B22}"/>
                </a:ext>
              </a:extLst>
            </p:cNvPr>
            <p:cNvSpPr/>
            <p:nvPr/>
          </p:nvSpPr>
          <p:spPr>
            <a:xfrm>
              <a:off x="4362723" y="2362604"/>
              <a:ext cx="114098" cy="63388"/>
            </a:xfrm>
            <a:custGeom>
              <a:avLst/>
              <a:gdLst>
                <a:gd name="connsiteX0" fmla="*/ 87249 w 85725"/>
                <a:gd name="connsiteY0" fmla="*/ 7144 h 47625"/>
                <a:gd name="connsiteX1" fmla="*/ 7144 w 85725"/>
                <a:gd name="connsiteY1" fmla="*/ 7144 h 47625"/>
                <a:gd name="connsiteX2" fmla="*/ 49149 w 85725"/>
                <a:gd name="connsiteY2" fmla="*/ 45244 h 47625"/>
                <a:gd name="connsiteX3" fmla="*/ 87249 w 857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47625">
                  <a:moveTo>
                    <a:pt x="87249" y="7144"/>
                  </a:moveTo>
                  <a:lnTo>
                    <a:pt x="7144" y="7144"/>
                  </a:lnTo>
                  <a:cubicBezTo>
                    <a:pt x="8220" y="29261"/>
                    <a:pt x="27032" y="46320"/>
                    <a:pt x="49149" y="45244"/>
                  </a:cubicBezTo>
                  <a:cubicBezTo>
                    <a:pt x="69761" y="44234"/>
                    <a:pt x="86239" y="27756"/>
                    <a:pt x="87249" y="7144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5" name="Frihåndsform: figur 204">
              <a:extLst>
                <a:ext uri="{FF2B5EF4-FFF2-40B4-BE49-F238E27FC236}">
                  <a16:creationId xmlns:a16="http://schemas.microsoft.com/office/drawing/2014/main" id="{0A9C2D50-7393-4C38-8A4D-C786185B77C7}"/>
                </a:ext>
              </a:extLst>
            </p:cNvPr>
            <p:cNvSpPr/>
            <p:nvPr/>
          </p:nvSpPr>
          <p:spPr>
            <a:xfrm>
              <a:off x="4325448" y="2263073"/>
              <a:ext cx="76066" cy="76066"/>
            </a:xfrm>
            <a:custGeom>
              <a:avLst/>
              <a:gdLst>
                <a:gd name="connsiteX0" fmla="*/ 33911 w 57150"/>
                <a:gd name="connsiteY0" fmla="*/ 50206 h 57150"/>
                <a:gd name="connsiteX1" fmla="*/ 7718 w 57150"/>
                <a:gd name="connsiteY1" fmla="*/ 33908 h 57150"/>
                <a:gd name="connsiteX2" fmla="*/ 24015 w 57150"/>
                <a:gd name="connsiteY2" fmla="*/ 7715 h 57150"/>
                <a:gd name="connsiteX3" fmla="*/ 50209 w 57150"/>
                <a:gd name="connsiteY3" fmla="*/ 24012 h 57150"/>
                <a:gd name="connsiteX4" fmla="*/ 50675 w 57150"/>
                <a:gd name="connsiteY4" fmla="*/ 26869 h 57150"/>
                <a:gd name="connsiteX5" fmla="*/ 33911 w 57150"/>
                <a:gd name="connsiteY5" fmla="*/ 5020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33911" y="50206"/>
                  </a:moveTo>
                  <a:cubicBezTo>
                    <a:pt x="22177" y="52939"/>
                    <a:pt x="10451" y="45643"/>
                    <a:pt x="7718" y="33908"/>
                  </a:cubicBezTo>
                  <a:cubicBezTo>
                    <a:pt x="4984" y="22173"/>
                    <a:pt x="12280" y="10448"/>
                    <a:pt x="24015" y="7715"/>
                  </a:cubicBezTo>
                  <a:cubicBezTo>
                    <a:pt x="35750" y="4990"/>
                    <a:pt x="47475" y="12277"/>
                    <a:pt x="50209" y="24012"/>
                  </a:cubicBezTo>
                  <a:cubicBezTo>
                    <a:pt x="50428" y="24955"/>
                    <a:pt x="50580" y="25907"/>
                    <a:pt x="50675" y="26869"/>
                  </a:cubicBezTo>
                  <a:cubicBezTo>
                    <a:pt x="52399" y="37918"/>
                    <a:pt x="44932" y="48310"/>
                    <a:pt x="33911" y="5020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6" name="Frihåndsform: figur 205">
              <a:extLst>
                <a:ext uri="{FF2B5EF4-FFF2-40B4-BE49-F238E27FC236}">
                  <a16:creationId xmlns:a16="http://schemas.microsoft.com/office/drawing/2014/main" id="{D7F2C836-B8AD-4AAA-A950-5BE197AEE766}"/>
                </a:ext>
              </a:extLst>
            </p:cNvPr>
            <p:cNvSpPr/>
            <p:nvPr/>
          </p:nvSpPr>
          <p:spPr>
            <a:xfrm>
              <a:off x="4443224" y="2263045"/>
              <a:ext cx="76066" cy="76066"/>
            </a:xfrm>
            <a:custGeom>
              <a:avLst/>
              <a:gdLst>
                <a:gd name="connsiteX0" fmla="*/ 33815 w 57150"/>
                <a:gd name="connsiteY0" fmla="*/ 50226 h 57150"/>
                <a:gd name="connsiteX1" fmla="*/ 7697 w 57150"/>
                <a:gd name="connsiteY1" fmla="*/ 33815 h 57150"/>
                <a:gd name="connsiteX2" fmla="*/ 24109 w 57150"/>
                <a:gd name="connsiteY2" fmla="*/ 7697 h 57150"/>
                <a:gd name="connsiteX3" fmla="*/ 50226 w 57150"/>
                <a:gd name="connsiteY3" fmla="*/ 24109 h 57150"/>
                <a:gd name="connsiteX4" fmla="*/ 50674 w 57150"/>
                <a:gd name="connsiteY4" fmla="*/ 26890 h 57150"/>
                <a:gd name="connsiteX5" fmla="*/ 33815 w 57150"/>
                <a:gd name="connsiteY5" fmla="*/ 5022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33815" y="50226"/>
                  </a:moveTo>
                  <a:cubicBezTo>
                    <a:pt x="22070" y="52903"/>
                    <a:pt x="10374" y="45559"/>
                    <a:pt x="7697" y="33815"/>
                  </a:cubicBezTo>
                  <a:cubicBezTo>
                    <a:pt x="5011" y="22070"/>
                    <a:pt x="12364" y="10374"/>
                    <a:pt x="24109" y="7697"/>
                  </a:cubicBezTo>
                  <a:cubicBezTo>
                    <a:pt x="35853" y="5011"/>
                    <a:pt x="47540" y="12364"/>
                    <a:pt x="50226" y="24109"/>
                  </a:cubicBezTo>
                  <a:cubicBezTo>
                    <a:pt x="50436" y="25023"/>
                    <a:pt x="50588" y="25957"/>
                    <a:pt x="50674" y="26890"/>
                  </a:cubicBezTo>
                  <a:cubicBezTo>
                    <a:pt x="52388" y="37977"/>
                    <a:pt x="44873" y="48378"/>
                    <a:pt x="33815" y="5022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7" name="Frihåndsform: figur 206">
              <a:extLst>
                <a:ext uri="{FF2B5EF4-FFF2-40B4-BE49-F238E27FC236}">
                  <a16:creationId xmlns:a16="http://schemas.microsoft.com/office/drawing/2014/main" id="{5777C689-5064-44FE-AF83-919E42E2BFA6}"/>
                </a:ext>
              </a:extLst>
            </p:cNvPr>
            <p:cNvSpPr/>
            <p:nvPr/>
          </p:nvSpPr>
          <p:spPr>
            <a:xfrm>
              <a:off x="4646929" y="1975870"/>
              <a:ext cx="354973" cy="354973"/>
            </a:xfrm>
            <a:custGeom>
              <a:avLst/>
              <a:gdLst>
                <a:gd name="connsiteX0" fmla="*/ 225096 w 266700"/>
                <a:gd name="connsiteY0" fmla="*/ 229888 h 266700"/>
                <a:gd name="connsiteX1" fmla="*/ 225096 w 266700"/>
                <a:gd name="connsiteY1" fmla="*/ 45294 h 266700"/>
                <a:gd name="connsiteX2" fmla="*/ 47169 w 266700"/>
                <a:gd name="connsiteY2" fmla="*/ 42722 h 266700"/>
                <a:gd name="connsiteX3" fmla="*/ 44598 w 266700"/>
                <a:gd name="connsiteY3" fmla="*/ 45294 h 266700"/>
                <a:gd name="connsiteX4" fmla="*/ 26786 w 266700"/>
                <a:gd name="connsiteY4" fmla="*/ 207219 h 266700"/>
                <a:gd name="connsiteX5" fmla="*/ 9545 w 266700"/>
                <a:gd name="connsiteY5" fmla="*/ 259987 h 266700"/>
                <a:gd name="connsiteX6" fmla="*/ 15261 w 266700"/>
                <a:gd name="connsiteY6" fmla="*/ 265798 h 266700"/>
                <a:gd name="connsiteX7" fmla="*/ 66886 w 266700"/>
                <a:gd name="connsiteY7" fmla="*/ 248272 h 266700"/>
                <a:gd name="connsiteX8" fmla="*/ 225096 w 266700"/>
                <a:gd name="connsiteY8" fmla="*/ 230079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700" h="266700">
                  <a:moveTo>
                    <a:pt x="225096" y="229888"/>
                  </a:moveTo>
                  <a:cubicBezTo>
                    <a:pt x="274912" y="178444"/>
                    <a:pt x="274912" y="96738"/>
                    <a:pt x="225096" y="45294"/>
                  </a:cubicBezTo>
                  <a:cubicBezTo>
                    <a:pt x="176671" y="-4550"/>
                    <a:pt x="97014" y="-5703"/>
                    <a:pt x="47169" y="42722"/>
                  </a:cubicBezTo>
                  <a:cubicBezTo>
                    <a:pt x="46303" y="43570"/>
                    <a:pt x="45445" y="44427"/>
                    <a:pt x="44598" y="45294"/>
                  </a:cubicBezTo>
                  <a:cubicBezTo>
                    <a:pt x="2354" y="88861"/>
                    <a:pt x="-4971" y="155517"/>
                    <a:pt x="26786" y="207219"/>
                  </a:cubicBezTo>
                  <a:lnTo>
                    <a:pt x="9545" y="259987"/>
                  </a:lnTo>
                  <a:cubicBezTo>
                    <a:pt x="9545" y="259987"/>
                    <a:pt x="6688" y="268750"/>
                    <a:pt x="15261" y="265798"/>
                  </a:cubicBezTo>
                  <a:lnTo>
                    <a:pt x="66886" y="248272"/>
                  </a:lnTo>
                  <a:cubicBezTo>
                    <a:pt x="117235" y="280638"/>
                    <a:pt x="183415" y="273027"/>
                    <a:pt x="225096" y="23007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8" name="Frihåndsform: figur 207">
              <a:extLst>
                <a:ext uri="{FF2B5EF4-FFF2-40B4-BE49-F238E27FC236}">
                  <a16:creationId xmlns:a16="http://schemas.microsoft.com/office/drawing/2014/main" id="{14C1C9B9-E1AA-428B-87BD-A377266160DD}"/>
                </a:ext>
              </a:extLst>
            </p:cNvPr>
            <p:cNvSpPr/>
            <p:nvPr/>
          </p:nvSpPr>
          <p:spPr>
            <a:xfrm>
              <a:off x="4738360" y="2133401"/>
              <a:ext cx="50710" cy="50710"/>
            </a:xfrm>
            <a:custGeom>
              <a:avLst/>
              <a:gdLst>
                <a:gd name="connsiteX0" fmla="*/ 18860 w 38100"/>
                <a:gd name="connsiteY0" fmla="*/ 31141 h 38100"/>
                <a:gd name="connsiteX1" fmla="*/ 31147 w 38100"/>
                <a:gd name="connsiteY1" fmla="*/ 19425 h 38100"/>
                <a:gd name="connsiteX2" fmla="*/ 19431 w 38100"/>
                <a:gd name="connsiteY2" fmla="*/ 7147 h 38100"/>
                <a:gd name="connsiteX3" fmla="*/ 7144 w 38100"/>
                <a:gd name="connsiteY3" fmla="*/ 18854 h 38100"/>
                <a:gd name="connsiteX4" fmla="*/ 7144 w 38100"/>
                <a:gd name="connsiteY4" fmla="*/ 19235 h 38100"/>
                <a:gd name="connsiteX5" fmla="*/ 18860 w 38100"/>
                <a:gd name="connsiteY5" fmla="*/ 31141 h 38100"/>
                <a:gd name="connsiteX6" fmla="*/ 18860 w 38100"/>
                <a:gd name="connsiteY6" fmla="*/ 3114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8860" y="31141"/>
                  </a:moveTo>
                  <a:cubicBezTo>
                    <a:pt x="25489" y="31303"/>
                    <a:pt x="30985" y="26055"/>
                    <a:pt x="31147" y="19425"/>
                  </a:cubicBezTo>
                  <a:cubicBezTo>
                    <a:pt x="31300" y="12805"/>
                    <a:pt x="26061" y="7300"/>
                    <a:pt x="19431" y="7147"/>
                  </a:cubicBezTo>
                  <a:cubicBezTo>
                    <a:pt x="12802" y="6985"/>
                    <a:pt x="7306" y="12234"/>
                    <a:pt x="7144" y="18854"/>
                  </a:cubicBezTo>
                  <a:cubicBezTo>
                    <a:pt x="7144" y="18987"/>
                    <a:pt x="7144" y="19111"/>
                    <a:pt x="7144" y="19235"/>
                  </a:cubicBezTo>
                  <a:cubicBezTo>
                    <a:pt x="7087" y="25759"/>
                    <a:pt x="12335" y="31084"/>
                    <a:pt x="18860" y="31141"/>
                  </a:cubicBezTo>
                  <a:cubicBezTo>
                    <a:pt x="18860" y="31141"/>
                    <a:pt x="18860" y="31141"/>
                    <a:pt x="18860" y="3114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09" name="Frihåndsform: figur 208">
              <a:extLst>
                <a:ext uri="{FF2B5EF4-FFF2-40B4-BE49-F238E27FC236}">
                  <a16:creationId xmlns:a16="http://schemas.microsoft.com/office/drawing/2014/main" id="{42FEADB2-0058-45FC-B33C-13F0F5D8E6B0}"/>
                </a:ext>
              </a:extLst>
            </p:cNvPr>
            <p:cNvSpPr/>
            <p:nvPr/>
          </p:nvSpPr>
          <p:spPr>
            <a:xfrm>
              <a:off x="4801368" y="2133397"/>
              <a:ext cx="50710" cy="50710"/>
            </a:xfrm>
            <a:custGeom>
              <a:avLst/>
              <a:gdLst>
                <a:gd name="connsiteX0" fmla="*/ 18765 w 38100"/>
                <a:gd name="connsiteY0" fmla="*/ 31143 h 38100"/>
                <a:gd name="connsiteX1" fmla="*/ 31138 w 38100"/>
                <a:gd name="connsiteY1" fmla="*/ 19532 h 38100"/>
                <a:gd name="connsiteX2" fmla="*/ 19527 w 38100"/>
                <a:gd name="connsiteY2" fmla="*/ 7150 h 38100"/>
                <a:gd name="connsiteX3" fmla="*/ 7154 w 38100"/>
                <a:gd name="connsiteY3" fmla="*/ 18770 h 38100"/>
                <a:gd name="connsiteX4" fmla="*/ 7144 w 38100"/>
                <a:gd name="connsiteY4" fmla="*/ 19237 h 38100"/>
                <a:gd name="connsiteX5" fmla="*/ 18765 w 38100"/>
                <a:gd name="connsiteY5" fmla="*/ 3114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38100">
                  <a:moveTo>
                    <a:pt x="18765" y="31143"/>
                  </a:moveTo>
                  <a:cubicBezTo>
                    <a:pt x="25394" y="31353"/>
                    <a:pt x="30928" y="26152"/>
                    <a:pt x="31138" y="19532"/>
                  </a:cubicBezTo>
                  <a:cubicBezTo>
                    <a:pt x="31347" y="12903"/>
                    <a:pt x="26147" y="7359"/>
                    <a:pt x="19527" y="7150"/>
                  </a:cubicBezTo>
                  <a:cubicBezTo>
                    <a:pt x="12897" y="6940"/>
                    <a:pt x="7363" y="12141"/>
                    <a:pt x="7154" y="18770"/>
                  </a:cubicBezTo>
                  <a:cubicBezTo>
                    <a:pt x="7144" y="18923"/>
                    <a:pt x="7144" y="19085"/>
                    <a:pt x="7144" y="19237"/>
                  </a:cubicBezTo>
                  <a:cubicBezTo>
                    <a:pt x="7087" y="25724"/>
                    <a:pt x="12278" y="31039"/>
                    <a:pt x="18765" y="31143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0" name="Frihåndsform: figur 209">
              <a:extLst>
                <a:ext uri="{FF2B5EF4-FFF2-40B4-BE49-F238E27FC236}">
                  <a16:creationId xmlns:a16="http://schemas.microsoft.com/office/drawing/2014/main" id="{9A424AF9-5FE3-49E5-928D-4069389A9462}"/>
                </a:ext>
              </a:extLst>
            </p:cNvPr>
            <p:cNvSpPr/>
            <p:nvPr/>
          </p:nvSpPr>
          <p:spPr>
            <a:xfrm>
              <a:off x="4864249" y="2133401"/>
              <a:ext cx="50710" cy="50710"/>
            </a:xfrm>
            <a:custGeom>
              <a:avLst/>
              <a:gdLst>
                <a:gd name="connsiteX0" fmla="*/ 18860 w 38100"/>
                <a:gd name="connsiteY0" fmla="*/ 31141 h 38100"/>
                <a:gd name="connsiteX1" fmla="*/ 31147 w 38100"/>
                <a:gd name="connsiteY1" fmla="*/ 19425 h 38100"/>
                <a:gd name="connsiteX2" fmla="*/ 19432 w 38100"/>
                <a:gd name="connsiteY2" fmla="*/ 7147 h 38100"/>
                <a:gd name="connsiteX3" fmla="*/ 7144 w 38100"/>
                <a:gd name="connsiteY3" fmla="*/ 18854 h 38100"/>
                <a:gd name="connsiteX4" fmla="*/ 7144 w 38100"/>
                <a:gd name="connsiteY4" fmla="*/ 19235 h 38100"/>
                <a:gd name="connsiteX5" fmla="*/ 18860 w 38100"/>
                <a:gd name="connsiteY5" fmla="*/ 31141 h 38100"/>
                <a:gd name="connsiteX6" fmla="*/ 18860 w 38100"/>
                <a:gd name="connsiteY6" fmla="*/ 3114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8860" y="31141"/>
                  </a:moveTo>
                  <a:cubicBezTo>
                    <a:pt x="25489" y="31303"/>
                    <a:pt x="30985" y="26055"/>
                    <a:pt x="31147" y="19425"/>
                  </a:cubicBezTo>
                  <a:cubicBezTo>
                    <a:pt x="31300" y="12805"/>
                    <a:pt x="26061" y="7300"/>
                    <a:pt x="19432" y="7147"/>
                  </a:cubicBezTo>
                  <a:cubicBezTo>
                    <a:pt x="12802" y="6985"/>
                    <a:pt x="7306" y="12234"/>
                    <a:pt x="7144" y="18854"/>
                  </a:cubicBezTo>
                  <a:cubicBezTo>
                    <a:pt x="7144" y="18987"/>
                    <a:pt x="7144" y="19111"/>
                    <a:pt x="7144" y="19235"/>
                  </a:cubicBezTo>
                  <a:cubicBezTo>
                    <a:pt x="7087" y="25759"/>
                    <a:pt x="12335" y="31084"/>
                    <a:pt x="18860" y="31141"/>
                  </a:cubicBezTo>
                  <a:cubicBezTo>
                    <a:pt x="18860" y="31141"/>
                    <a:pt x="18860" y="31141"/>
                    <a:pt x="18860" y="3114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1" name="Frihåndsform: figur 210">
              <a:extLst>
                <a:ext uri="{FF2B5EF4-FFF2-40B4-BE49-F238E27FC236}">
                  <a16:creationId xmlns:a16="http://schemas.microsoft.com/office/drawing/2014/main" id="{CCAA4FEC-0379-4A8D-BAA5-2FAB5C8821A8}"/>
                </a:ext>
              </a:extLst>
            </p:cNvPr>
            <p:cNvSpPr/>
            <p:nvPr/>
          </p:nvSpPr>
          <p:spPr>
            <a:xfrm>
              <a:off x="2285244" y="2150634"/>
              <a:ext cx="316940" cy="354973"/>
            </a:xfrm>
            <a:custGeom>
              <a:avLst/>
              <a:gdLst>
                <a:gd name="connsiteX0" fmla="*/ 7144 w 238125"/>
                <a:gd name="connsiteY0" fmla="*/ 7144 h 266700"/>
                <a:gd name="connsiteX1" fmla="*/ 239268 w 238125"/>
                <a:gd name="connsiteY1" fmla="*/ 7144 h 266700"/>
                <a:gd name="connsiteX2" fmla="*/ 239268 w 238125"/>
                <a:gd name="connsiteY2" fmla="*/ 260699 h 266700"/>
                <a:gd name="connsiteX3" fmla="*/ 7144 w 238125"/>
                <a:gd name="connsiteY3" fmla="*/ 260699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266700">
                  <a:moveTo>
                    <a:pt x="7144" y="7144"/>
                  </a:moveTo>
                  <a:lnTo>
                    <a:pt x="239268" y="7144"/>
                  </a:lnTo>
                  <a:lnTo>
                    <a:pt x="239268" y="260699"/>
                  </a:lnTo>
                  <a:lnTo>
                    <a:pt x="7144" y="26069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2" name="Frihåndsform: figur 211">
              <a:extLst>
                <a:ext uri="{FF2B5EF4-FFF2-40B4-BE49-F238E27FC236}">
                  <a16:creationId xmlns:a16="http://schemas.microsoft.com/office/drawing/2014/main" id="{E2262030-608D-48C6-98AD-3867BE7C8928}"/>
                </a:ext>
              </a:extLst>
            </p:cNvPr>
            <p:cNvSpPr/>
            <p:nvPr/>
          </p:nvSpPr>
          <p:spPr>
            <a:xfrm>
              <a:off x="2257987" y="2119067"/>
              <a:ext cx="367651" cy="532460"/>
            </a:xfrm>
            <a:custGeom>
              <a:avLst/>
              <a:gdLst>
                <a:gd name="connsiteX0" fmla="*/ 238982 w 276225"/>
                <a:gd name="connsiteY0" fmla="*/ 249269 h 400050"/>
                <a:gd name="connsiteX1" fmla="*/ 38957 w 276225"/>
                <a:gd name="connsiteY1" fmla="*/ 249269 h 400050"/>
                <a:gd name="connsiteX2" fmla="*/ 38957 w 276225"/>
                <a:gd name="connsiteY2" fmla="*/ 54959 h 400050"/>
                <a:gd name="connsiteX3" fmla="*/ 239935 w 276225"/>
                <a:gd name="connsiteY3" fmla="*/ 54959 h 400050"/>
                <a:gd name="connsiteX4" fmla="*/ 269843 w 276225"/>
                <a:gd name="connsiteY4" fmla="*/ 354806 h 400050"/>
                <a:gd name="connsiteX5" fmla="*/ 269843 w 276225"/>
                <a:gd name="connsiteY5" fmla="*/ 52197 h 400050"/>
                <a:gd name="connsiteX6" fmla="*/ 224695 w 276225"/>
                <a:gd name="connsiteY6" fmla="*/ 7144 h 400050"/>
                <a:gd name="connsiteX7" fmla="*/ 52292 w 276225"/>
                <a:gd name="connsiteY7" fmla="*/ 7144 h 400050"/>
                <a:gd name="connsiteX8" fmla="*/ 7144 w 276225"/>
                <a:gd name="connsiteY8" fmla="*/ 52197 h 400050"/>
                <a:gd name="connsiteX9" fmla="*/ 7144 w 276225"/>
                <a:gd name="connsiteY9" fmla="*/ 354806 h 400050"/>
                <a:gd name="connsiteX10" fmla="*/ 52292 w 276225"/>
                <a:gd name="connsiteY10" fmla="*/ 399859 h 400050"/>
                <a:gd name="connsiteX11" fmla="*/ 224695 w 276225"/>
                <a:gd name="connsiteY11" fmla="*/ 399859 h 400050"/>
                <a:gd name="connsiteX12" fmla="*/ 269843 w 276225"/>
                <a:gd name="connsiteY12" fmla="*/ 354806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6225" h="400050">
                  <a:moveTo>
                    <a:pt x="238982" y="249269"/>
                  </a:moveTo>
                  <a:lnTo>
                    <a:pt x="38957" y="249269"/>
                  </a:lnTo>
                  <a:lnTo>
                    <a:pt x="38957" y="54959"/>
                  </a:lnTo>
                  <a:lnTo>
                    <a:pt x="239935" y="54959"/>
                  </a:lnTo>
                  <a:close/>
                  <a:moveTo>
                    <a:pt x="269843" y="354806"/>
                  </a:moveTo>
                  <a:lnTo>
                    <a:pt x="269843" y="52197"/>
                  </a:lnTo>
                  <a:cubicBezTo>
                    <a:pt x="269739" y="27318"/>
                    <a:pt x="249571" y="7191"/>
                    <a:pt x="224695" y="7144"/>
                  </a:cubicBezTo>
                  <a:lnTo>
                    <a:pt x="52292" y="7144"/>
                  </a:lnTo>
                  <a:cubicBezTo>
                    <a:pt x="27416" y="7191"/>
                    <a:pt x="7249" y="27318"/>
                    <a:pt x="7144" y="52197"/>
                  </a:cubicBezTo>
                  <a:lnTo>
                    <a:pt x="7144" y="354806"/>
                  </a:lnTo>
                  <a:cubicBezTo>
                    <a:pt x="7249" y="379686"/>
                    <a:pt x="27416" y="399812"/>
                    <a:pt x="52292" y="399859"/>
                  </a:cubicBezTo>
                  <a:lnTo>
                    <a:pt x="224695" y="399859"/>
                  </a:lnTo>
                  <a:cubicBezTo>
                    <a:pt x="249571" y="399812"/>
                    <a:pt x="269739" y="379686"/>
                    <a:pt x="269843" y="35480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3" name="Frihåndsform: figur 212">
              <a:extLst>
                <a:ext uri="{FF2B5EF4-FFF2-40B4-BE49-F238E27FC236}">
                  <a16:creationId xmlns:a16="http://schemas.microsoft.com/office/drawing/2014/main" id="{A6C8D680-999A-4FB1-B35A-4BD5A6F46522}"/>
                </a:ext>
              </a:extLst>
            </p:cNvPr>
            <p:cNvSpPr/>
            <p:nvPr/>
          </p:nvSpPr>
          <p:spPr>
            <a:xfrm>
              <a:off x="2380832" y="2362604"/>
              <a:ext cx="114098" cy="63388"/>
            </a:xfrm>
            <a:custGeom>
              <a:avLst/>
              <a:gdLst>
                <a:gd name="connsiteX0" fmla="*/ 87249 w 85725"/>
                <a:gd name="connsiteY0" fmla="*/ 7144 h 47625"/>
                <a:gd name="connsiteX1" fmla="*/ 7144 w 85725"/>
                <a:gd name="connsiteY1" fmla="*/ 7144 h 47625"/>
                <a:gd name="connsiteX2" fmla="*/ 49150 w 85725"/>
                <a:gd name="connsiteY2" fmla="*/ 45244 h 47625"/>
                <a:gd name="connsiteX3" fmla="*/ 87249 w 85725"/>
                <a:gd name="connsiteY3" fmla="*/ 714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47625">
                  <a:moveTo>
                    <a:pt x="87249" y="7144"/>
                  </a:moveTo>
                  <a:lnTo>
                    <a:pt x="7144" y="7144"/>
                  </a:lnTo>
                  <a:cubicBezTo>
                    <a:pt x="8223" y="29261"/>
                    <a:pt x="27030" y="46320"/>
                    <a:pt x="49150" y="45244"/>
                  </a:cubicBezTo>
                  <a:cubicBezTo>
                    <a:pt x="69761" y="44234"/>
                    <a:pt x="86243" y="27756"/>
                    <a:pt x="87249" y="7144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4" name="Frihåndsform: figur 213">
              <a:extLst>
                <a:ext uri="{FF2B5EF4-FFF2-40B4-BE49-F238E27FC236}">
                  <a16:creationId xmlns:a16="http://schemas.microsoft.com/office/drawing/2014/main" id="{279F688F-869E-4EF6-BC03-FF5BE8A3D421}"/>
                </a:ext>
              </a:extLst>
            </p:cNvPr>
            <p:cNvSpPr/>
            <p:nvPr/>
          </p:nvSpPr>
          <p:spPr>
            <a:xfrm>
              <a:off x="2343558" y="2263045"/>
              <a:ext cx="76066" cy="76066"/>
            </a:xfrm>
            <a:custGeom>
              <a:avLst/>
              <a:gdLst>
                <a:gd name="connsiteX0" fmla="*/ 33815 w 57150"/>
                <a:gd name="connsiteY0" fmla="*/ 50226 h 57150"/>
                <a:gd name="connsiteX1" fmla="*/ 7696 w 57150"/>
                <a:gd name="connsiteY1" fmla="*/ 33815 h 57150"/>
                <a:gd name="connsiteX2" fmla="*/ 24106 w 57150"/>
                <a:gd name="connsiteY2" fmla="*/ 7697 h 57150"/>
                <a:gd name="connsiteX3" fmla="*/ 50226 w 57150"/>
                <a:gd name="connsiteY3" fmla="*/ 24109 h 57150"/>
                <a:gd name="connsiteX4" fmla="*/ 50674 w 57150"/>
                <a:gd name="connsiteY4" fmla="*/ 26890 h 57150"/>
                <a:gd name="connsiteX5" fmla="*/ 33815 w 57150"/>
                <a:gd name="connsiteY5" fmla="*/ 5022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33815" y="50226"/>
                  </a:moveTo>
                  <a:cubicBezTo>
                    <a:pt x="22071" y="52903"/>
                    <a:pt x="10377" y="45559"/>
                    <a:pt x="7696" y="33815"/>
                  </a:cubicBezTo>
                  <a:cubicBezTo>
                    <a:pt x="5014" y="22070"/>
                    <a:pt x="12362" y="10374"/>
                    <a:pt x="24106" y="7697"/>
                  </a:cubicBezTo>
                  <a:cubicBezTo>
                    <a:pt x="35851" y="5011"/>
                    <a:pt x="47544" y="12364"/>
                    <a:pt x="50226" y="24109"/>
                  </a:cubicBezTo>
                  <a:cubicBezTo>
                    <a:pt x="50435" y="25023"/>
                    <a:pt x="50585" y="25957"/>
                    <a:pt x="50674" y="26890"/>
                  </a:cubicBezTo>
                  <a:cubicBezTo>
                    <a:pt x="52448" y="37987"/>
                    <a:pt x="44907" y="48426"/>
                    <a:pt x="33815" y="5022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5" name="Frihåndsform: figur 214">
              <a:extLst>
                <a:ext uri="{FF2B5EF4-FFF2-40B4-BE49-F238E27FC236}">
                  <a16:creationId xmlns:a16="http://schemas.microsoft.com/office/drawing/2014/main" id="{CDF80D7D-FC34-4A33-85BF-AA42B7DA2C95}"/>
                </a:ext>
              </a:extLst>
            </p:cNvPr>
            <p:cNvSpPr/>
            <p:nvPr/>
          </p:nvSpPr>
          <p:spPr>
            <a:xfrm>
              <a:off x="2461206" y="2263045"/>
              <a:ext cx="76066" cy="76066"/>
            </a:xfrm>
            <a:custGeom>
              <a:avLst/>
              <a:gdLst>
                <a:gd name="connsiteX0" fmla="*/ 33815 w 57150"/>
                <a:gd name="connsiteY0" fmla="*/ 50226 h 57150"/>
                <a:gd name="connsiteX1" fmla="*/ 7696 w 57150"/>
                <a:gd name="connsiteY1" fmla="*/ 33815 h 57150"/>
                <a:gd name="connsiteX2" fmla="*/ 24106 w 57150"/>
                <a:gd name="connsiteY2" fmla="*/ 7697 h 57150"/>
                <a:gd name="connsiteX3" fmla="*/ 50226 w 57150"/>
                <a:gd name="connsiteY3" fmla="*/ 24109 h 57150"/>
                <a:gd name="connsiteX4" fmla="*/ 50674 w 57150"/>
                <a:gd name="connsiteY4" fmla="*/ 26890 h 57150"/>
                <a:gd name="connsiteX5" fmla="*/ 33815 w 57150"/>
                <a:gd name="connsiteY5" fmla="*/ 50226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150" h="57150">
                  <a:moveTo>
                    <a:pt x="33815" y="50226"/>
                  </a:moveTo>
                  <a:cubicBezTo>
                    <a:pt x="22071" y="52903"/>
                    <a:pt x="10376" y="45559"/>
                    <a:pt x="7696" y="33815"/>
                  </a:cubicBezTo>
                  <a:cubicBezTo>
                    <a:pt x="5014" y="22070"/>
                    <a:pt x="12362" y="10374"/>
                    <a:pt x="24106" y="7697"/>
                  </a:cubicBezTo>
                  <a:cubicBezTo>
                    <a:pt x="35851" y="5011"/>
                    <a:pt x="47544" y="12364"/>
                    <a:pt x="50226" y="24109"/>
                  </a:cubicBezTo>
                  <a:cubicBezTo>
                    <a:pt x="50435" y="25023"/>
                    <a:pt x="50585" y="25957"/>
                    <a:pt x="50674" y="26890"/>
                  </a:cubicBezTo>
                  <a:cubicBezTo>
                    <a:pt x="52448" y="37987"/>
                    <a:pt x="44906" y="48426"/>
                    <a:pt x="33815" y="5022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6" name="Frihåndsform: figur 215">
              <a:extLst>
                <a:ext uri="{FF2B5EF4-FFF2-40B4-BE49-F238E27FC236}">
                  <a16:creationId xmlns:a16="http://schemas.microsoft.com/office/drawing/2014/main" id="{8FFE61FD-B703-4E4C-AAE7-A450833B36F7}"/>
                </a:ext>
              </a:extLst>
            </p:cNvPr>
            <p:cNvSpPr/>
            <p:nvPr/>
          </p:nvSpPr>
          <p:spPr>
            <a:xfrm>
              <a:off x="1913791" y="2334219"/>
              <a:ext cx="50710" cy="50710"/>
            </a:xfrm>
            <a:custGeom>
              <a:avLst/>
              <a:gdLst>
                <a:gd name="connsiteX0" fmla="*/ 19240 w 38100"/>
                <a:gd name="connsiteY0" fmla="*/ 32280 h 38100"/>
                <a:gd name="connsiteX1" fmla="*/ 7153 w 38100"/>
                <a:gd name="connsiteY1" fmla="*/ 19240 h 38100"/>
                <a:gd name="connsiteX2" fmla="*/ 20194 w 38100"/>
                <a:gd name="connsiteY2" fmla="*/ 7153 h 38100"/>
                <a:gd name="connsiteX3" fmla="*/ 32289 w 38100"/>
                <a:gd name="connsiteY3" fmla="*/ 19802 h 38100"/>
                <a:gd name="connsiteX4" fmla="*/ 19812 w 38100"/>
                <a:gd name="connsiteY4" fmla="*/ 32280 h 38100"/>
                <a:gd name="connsiteX5" fmla="*/ 19716 w 38100"/>
                <a:gd name="connsiteY5" fmla="*/ 3228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38100">
                  <a:moveTo>
                    <a:pt x="19240" y="32280"/>
                  </a:moveTo>
                  <a:cubicBezTo>
                    <a:pt x="12301" y="32013"/>
                    <a:pt x="6889" y="26175"/>
                    <a:pt x="7153" y="19240"/>
                  </a:cubicBezTo>
                  <a:cubicBezTo>
                    <a:pt x="7416" y="12297"/>
                    <a:pt x="13255" y="6887"/>
                    <a:pt x="20194" y="7153"/>
                  </a:cubicBezTo>
                  <a:cubicBezTo>
                    <a:pt x="26980" y="7410"/>
                    <a:pt x="32336" y="13011"/>
                    <a:pt x="32289" y="19802"/>
                  </a:cubicBezTo>
                  <a:cubicBezTo>
                    <a:pt x="32289" y="26689"/>
                    <a:pt x="26703" y="32280"/>
                    <a:pt x="19812" y="32280"/>
                  </a:cubicBezTo>
                  <a:cubicBezTo>
                    <a:pt x="19780" y="32280"/>
                    <a:pt x="19748" y="32280"/>
                    <a:pt x="19716" y="3228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7" name="Frihåndsform: figur 216">
              <a:extLst>
                <a:ext uri="{FF2B5EF4-FFF2-40B4-BE49-F238E27FC236}">
                  <a16:creationId xmlns:a16="http://schemas.microsoft.com/office/drawing/2014/main" id="{67DE403D-25D4-4643-906C-065A07A3EAD5}"/>
                </a:ext>
              </a:extLst>
            </p:cNvPr>
            <p:cNvSpPr/>
            <p:nvPr/>
          </p:nvSpPr>
          <p:spPr>
            <a:xfrm>
              <a:off x="1975531" y="2334206"/>
              <a:ext cx="50710" cy="50710"/>
            </a:xfrm>
            <a:custGeom>
              <a:avLst/>
              <a:gdLst>
                <a:gd name="connsiteX0" fmla="*/ 19811 w 38100"/>
                <a:gd name="connsiteY0" fmla="*/ 32290 h 38100"/>
                <a:gd name="connsiteX1" fmla="*/ 7144 w 38100"/>
                <a:gd name="connsiteY1" fmla="*/ 19812 h 38100"/>
                <a:gd name="connsiteX2" fmla="*/ 19622 w 38100"/>
                <a:gd name="connsiteY2" fmla="*/ 7144 h 38100"/>
                <a:gd name="connsiteX3" fmla="*/ 32289 w 38100"/>
                <a:gd name="connsiteY3" fmla="*/ 19622 h 38100"/>
                <a:gd name="connsiteX4" fmla="*/ 32289 w 38100"/>
                <a:gd name="connsiteY4" fmla="*/ 19812 h 38100"/>
                <a:gd name="connsiteX5" fmla="*/ 19811 w 38100"/>
                <a:gd name="connsiteY5" fmla="*/ 322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38100">
                  <a:moveTo>
                    <a:pt x="19811" y="32290"/>
                  </a:moveTo>
                  <a:cubicBezTo>
                    <a:pt x="12868" y="32347"/>
                    <a:pt x="7196" y="26756"/>
                    <a:pt x="7144" y="19812"/>
                  </a:cubicBezTo>
                  <a:cubicBezTo>
                    <a:pt x="7092" y="12869"/>
                    <a:pt x="12678" y="7201"/>
                    <a:pt x="19622" y="7144"/>
                  </a:cubicBezTo>
                  <a:cubicBezTo>
                    <a:pt x="26566" y="7096"/>
                    <a:pt x="32237" y="12678"/>
                    <a:pt x="32289" y="19622"/>
                  </a:cubicBezTo>
                  <a:cubicBezTo>
                    <a:pt x="32289" y="19688"/>
                    <a:pt x="32289" y="19746"/>
                    <a:pt x="32289" y="19812"/>
                  </a:cubicBezTo>
                  <a:cubicBezTo>
                    <a:pt x="32238" y="26680"/>
                    <a:pt x="26681" y="32242"/>
                    <a:pt x="19811" y="3229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8" name="Frihåndsform: figur 217">
              <a:extLst>
                <a:ext uri="{FF2B5EF4-FFF2-40B4-BE49-F238E27FC236}">
                  <a16:creationId xmlns:a16="http://schemas.microsoft.com/office/drawing/2014/main" id="{EF7B697E-D045-42EF-94B3-9F62882BB5E0}"/>
                </a:ext>
              </a:extLst>
            </p:cNvPr>
            <p:cNvSpPr/>
            <p:nvPr/>
          </p:nvSpPr>
          <p:spPr>
            <a:xfrm>
              <a:off x="2038031" y="2334206"/>
              <a:ext cx="50710" cy="50710"/>
            </a:xfrm>
            <a:custGeom>
              <a:avLst/>
              <a:gdLst>
                <a:gd name="connsiteX0" fmla="*/ 19811 w 38100"/>
                <a:gd name="connsiteY0" fmla="*/ 32290 h 38100"/>
                <a:gd name="connsiteX1" fmla="*/ 7144 w 38100"/>
                <a:gd name="connsiteY1" fmla="*/ 19812 h 38100"/>
                <a:gd name="connsiteX2" fmla="*/ 19622 w 38100"/>
                <a:gd name="connsiteY2" fmla="*/ 7144 h 38100"/>
                <a:gd name="connsiteX3" fmla="*/ 32289 w 38100"/>
                <a:gd name="connsiteY3" fmla="*/ 19622 h 38100"/>
                <a:gd name="connsiteX4" fmla="*/ 32289 w 38100"/>
                <a:gd name="connsiteY4" fmla="*/ 19812 h 38100"/>
                <a:gd name="connsiteX5" fmla="*/ 19811 w 38100"/>
                <a:gd name="connsiteY5" fmla="*/ 322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38100">
                  <a:moveTo>
                    <a:pt x="19811" y="32290"/>
                  </a:moveTo>
                  <a:cubicBezTo>
                    <a:pt x="12868" y="32347"/>
                    <a:pt x="7197" y="26756"/>
                    <a:pt x="7144" y="19812"/>
                  </a:cubicBezTo>
                  <a:cubicBezTo>
                    <a:pt x="7092" y="12869"/>
                    <a:pt x="12678" y="7201"/>
                    <a:pt x="19622" y="7144"/>
                  </a:cubicBezTo>
                  <a:cubicBezTo>
                    <a:pt x="26566" y="7096"/>
                    <a:pt x="32237" y="12678"/>
                    <a:pt x="32289" y="19622"/>
                  </a:cubicBezTo>
                  <a:cubicBezTo>
                    <a:pt x="32290" y="19688"/>
                    <a:pt x="32290" y="19746"/>
                    <a:pt x="32289" y="19812"/>
                  </a:cubicBezTo>
                  <a:cubicBezTo>
                    <a:pt x="32238" y="26680"/>
                    <a:pt x="26681" y="32242"/>
                    <a:pt x="19811" y="32290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19" name="Frihåndsform: figur 218">
              <a:extLst>
                <a:ext uri="{FF2B5EF4-FFF2-40B4-BE49-F238E27FC236}">
                  <a16:creationId xmlns:a16="http://schemas.microsoft.com/office/drawing/2014/main" id="{15FFC6DC-838A-4B8A-A8CE-11A36325885C}"/>
                </a:ext>
              </a:extLst>
            </p:cNvPr>
            <p:cNvSpPr/>
            <p:nvPr/>
          </p:nvSpPr>
          <p:spPr>
            <a:xfrm>
              <a:off x="2688466" y="2216467"/>
              <a:ext cx="342295" cy="278907"/>
            </a:xfrm>
            <a:custGeom>
              <a:avLst/>
              <a:gdLst>
                <a:gd name="connsiteX0" fmla="*/ 140152 w 257175"/>
                <a:gd name="connsiteY0" fmla="*/ 7307 h 209550"/>
                <a:gd name="connsiteX1" fmla="*/ 250356 w 257175"/>
                <a:gd name="connsiteY1" fmla="*/ 103128 h 209550"/>
                <a:gd name="connsiteX2" fmla="*/ 159716 w 257175"/>
                <a:gd name="connsiteY2" fmla="*/ 210827 h 209550"/>
                <a:gd name="connsiteX3" fmla="*/ 156630 w 257175"/>
                <a:gd name="connsiteY3" fmla="*/ 211046 h 209550"/>
                <a:gd name="connsiteX4" fmla="*/ 50807 w 257175"/>
                <a:gd name="connsiteY4" fmla="*/ 137704 h 209550"/>
                <a:gd name="connsiteX5" fmla="*/ 10326 w 257175"/>
                <a:gd name="connsiteY5" fmla="*/ 120559 h 209550"/>
                <a:gd name="connsiteX6" fmla="*/ 9755 w 257175"/>
                <a:gd name="connsiteY6" fmla="*/ 114082 h 209550"/>
                <a:gd name="connsiteX7" fmla="*/ 47093 w 257175"/>
                <a:gd name="connsiteY7" fmla="*/ 92365 h 209550"/>
                <a:gd name="connsiteX8" fmla="*/ 140152 w 257175"/>
                <a:gd name="connsiteY8" fmla="*/ 730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175" h="209550">
                  <a:moveTo>
                    <a:pt x="140152" y="7307"/>
                  </a:moveTo>
                  <a:cubicBezTo>
                    <a:pt x="196759" y="4173"/>
                    <a:pt x="245594" y="46635"/>
                    <a:pt x="250356" y="103128"/>
                  </a:cubicBezTo>
                  <a:cubicBezTo>
                    <a:pt x="255071" y="157897"/>
                    <a:pt x="214485" y="206122"/>
                    <a:pt x="159716" y="210827"/>
                  </a:cubicBezTo>
                  <a:cubicBezTo>
                    <a:pt x="158688" y="210913"/>
                    <a:pt x="157659" y="210989"/>
                    <a:pt x="156630" y="211046"/>
                  </a:cubicBezTo>
                  <a:cubicBezTo>
                    <a:pt x="108723" y="213713"/>
                    <a:pt x="65127" y="183500"/>
                    <a:pt x="50807" y="137704"/>
                  </a:cubicBezTo>
                  <a:lnTo>
                    <a:pt x="10326" y="120559"/>
                  </a:lnTo>
                  <a:cubicBezTo>
                    <a:pt x="10326" y="120559"/>
                    <a:pt x="3563" y="117701"/>
                    <a:pt x="9755" y="114082"/>
                  </a:cubicBezTo>
                  <a:lnTo>
                    <a:pt x="47093" y="92365"/>
                  </a:lnTo>
                  <a:cubicBezTo>
                    <a:pt x="53879" y="45454"/>
                    <a:pt x="92826" y="9859"/>
                    <a:pt x="140152" y="730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0" name="Frihåndsform: figur 219">
              <a:extLst>
                <a:ext uri="{FF2B5EF4-FFF2-40B4-BE49-F238E27FC236}">
                  <a16:creationId xmlns:a16="http://schemas.microsoft.com/office/drawing/2014/main" id="{78066872-6F7A-414B-A826-EBFB20CAEB41}"/>
                </a:ext>
              </a:extLst>
            </p:cNvPr>
            <p:cNvSpPr/>
            <p:nvPr/>
          </p:nvSpPr>
          <p:spPr>
            <a:xfrm>
              <a:off x="2927745" y="2335094"/>
              <a:ext cx="50710" cy="50710"/>
            </a:xfrm>
            <a:custGeom>
              <a:avLst/>
              <a:gdLst>
                <a:gd name="connsiteX0" fmla="*/ 7144 w 38100"/>
                <a:gd name="connsiteY0" fmla="*/ 7144 h 38100"/>
                <a:gd name="connsiteX1" fmla="*/ 32956 w 38100"/>
                <a:gd name="connsiteY1" fmla="*/ 7144 h 38100"/>
                <a:gd name="connsiteX2" fmla="*/ 32956 w 38100"/>
                <a:gd name="connsiteY2" fmla="*/ 32957 h 38100"/>
                <a:gd name="connsiteX3" fmla="*/ 7144 w 38100"/>
                <a:gd name="connsiteY3" fmla="*/ 32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38100">
                  <a:moveTo>
                    <a:pt x="7144" y="7144"/>
                  </a:moveTo>
                  <a:lnTo>
                    <a:pt x="32956" y="7144"/>
                  </a:lnTo>
                  <a:lnTo>
                    <a:pt x="32956" y="32957"/>
                  </a:lnTo>
                  <a:lnTo>
                    <a:pt x="7144" y="3295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1" name="Frihåndsform: figur 220">
              <a:extLst>
                <a:ext uri="{FF2B5EF4-FFF2-40B4-BE49-F238E27FC236}">
                  <a16:creationId xmlns:a16="http://schemas.microsoft.com/office/drawing/2014/main" id="{04720A6E-4302-4C27-B872-8F97A8A730BF}"/>
                </a:ext>
              </a:extLst>
            </p:cNvPr>
            <p:cNvSpPr/>
            <p:nvPr/>
          </p:nvSpPr>
          <p:spPr>
            <a:xfrm>
              <a:off x="2864103" y="2335094"/>
              <a:ext cx="50710" cy="50710"/>
            </a:xfrm>
            <a:custGeom>
              <a:avLst/>
              <a:gdLst>
                <a:gd name="connsiteX0" fmla="*/ 7144 w 38100"/>
                <a:gd name="connsiteY0" fmla="*/ 7144 h 38100"/>
                <a:gd name="connsiteX1" fmla="*/ 32956 w 38100"/>
                <a:gd name="connsiteY1" fmla="*/ 7144 h 38100"/>
                <a:gd name="connsiteX2" fmla="*/ 32956 w 38100"/>
                <a:gd name="connsiteY2" fmla="*/ 32957 h 38100"/>
                <a:gd name="connsiteX3" fmla="*/ 7144 w 38100"/>
                <a:gd name="connsiteY3" fmla="*/ 32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38100">
                  <a:moveTo>
                    <a:pt x="7144" y="7144"/>
                  </a:moveTo>
                  <a:lnTo>
                    <a:pt x="32956" y="7144"/>
                  </a:lnTo>
                  <a:lnTo>
                    <a:pt x="32956" y="32957"/>
                  </a:lnTo>
                  <a:lnTo>
                    <a:pt x="7144" y="3295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2" name="Frihåndsform: figur 221">
              <a:extLst>
                <a:ext uri="{FF2B5EF4-FFF2-40B4-BE49-F238E27FC236}">
                  <a16:creationId xmlns:a16="http://schemas.microsoft.com/office/drawing/2014/main" id="{9F3D9C78-8F0F-4B95-BDF8-41DFAB423CA3}"/>
                </a:ext>
              </a:extLst>
            </p:cNvPr>
            <p:cNvSpPr/>
            <p:nvPr/>
          </p:nvSpPr>
          <p:spPr>
            <a:xfrm>
              <a:off x="2800335" y="2335094"/>
              <a:ext cx="50710" cy="50710"/>
            </a:xfrm>
            <a:custGeom>
              <a:avLst/>
              <a:gdLst>
                <a:gd name="connsiteX0" fmla="*/ 7144 w 38100"/>
                <a:gd name="connsiteY0" fmla="*/ 7144 h 38100"/>
                <a:gd name="connsiteX1" fmla="*/ 32957 w 38100"/>
                <a:gd name="connsiteY1" fmla="*/ 7144 h 38100"/>
                <a:gd name="connsiteX2" fmla="*/ 32957 w 38100"/>
                <a:gd name="connsiteY2" fmla="*/ 32957 h 38100"/>
                <a:gd name="connsiteX3" fmla="*/ 7144 w 38100"/>
                <a:gd name="connsiteY3" fmla="*/ 3295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38100">
                  <a:moveTo>
                    <a:pt x="7144" y="7144"/>
                  </a:moveTo>
                  <a:lnTo>
                    <a:pt x="32957" y="7144"/>
                  </a:lnTo>
                  <a:lnTo>
                    <a:pt x="32957" y="32957"/>
                  </a:lnTo>
                  <a:lnTo>
                    <a:pt x="7144" y="3295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3" name="Frihåndsform: figur 222">
              <a:extLst>
                <a:ext uri="{FF2B5EF4-FFF2-40B4-BE49-F238E27FC236}">
                  <a16:creationId xmlns:a16="http://schemas.microsoft.com/office/drawing/2014/main" id="{7AB4748F-65A6-407B-9B7A-A67B708342A0}"/>
                </a:ext>
              </a:extLst>
            </p:cNvPr>
            <p:cNvSpPr/>
            <p:nvPr/>
          </p:nvSpPr>
          <p:spPr>
            <a:xfrm>
              <a:off x="2501397" y="1463762"/>
              <a:ext cx="4006124" cy="38033"/>
            </a:xfrm>
            <a:custGeom>
              <a:avLst/>
              <a:gdLst>
                <a:gd name="connsiteX0" fmla="*/ 14287 w 3009900"/>
                <a:gd name="connsiteY0" fmla="*/ 14287 h 28575"/>
                <a:gd name="connsiteX1" fmla="*/ 2996184 w 3009900"/>
                <a:gd name="connsiteY1" fmla="*/ 1428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9900" h="28575">
                  <a:moveTo>
                    <a:pt x="14287" y="14287"/>
                  </a:moveTo>
                  <a:lnTo>
                    <a:pt x="2996184" y="14287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4" name="Frihåndsform: figur 223">
              <a:extLst>
                <a:ext uri="{FF2B5EF4-FFF2-40B4-BE49-F238E27FC236}">
                  <a16:creationId xmlns:a16="http://schemas.microsoft.com/office/drawing/2014/main" id="{CC41D5DC-91C8-409D-99D5-962D45713DFB}"/>
                </a:ext>
              </a:extLst>
            </p:cNvPr>
            <p:cNvSpPr/>
            <p:nvPr/>
          </p:nvSpPr>
          <p:spPr>
            <a:xfrm>
              <a:off x="2514074" y="1463762"/>
              <a:ext cx="38033" cy="380328"/>
            </a:xfrm>
            <a:custGeom>
              <a:avLst/>
              <a:gdLst>
                <a:gd name="connsiteX0" fmla="*/ 14287 w 28575"/>
                <a:gd name="connsiteY0" fmla="*/ 14287 h 285750"/>
                <a:gd name="connsiteX1" fmla="*/ 14287 w 28575"/>
                <a:gd name="connsiteY1" fmla="*/ 277273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0">
                  <a:moveTo>
                    <a:pt x="14287" y="14287"/>
                  </a:moveTo>
                  <a:lnTo>
                    <a:pt x="14287" y="277273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5" name="Frihåndsform: figur 224">
              <a:extLst>
                <a:ext uri="{FF2B5EF4-FFF2-40B4-BE49-F238E27FC236}">
                  <a16:creationId xmlns:a16="http://schemas.microsoft.com/office/drawing/2014/main" id="{EAF9FA62-799A-4186-B22F-B3889861481C}"/>
                </a:ext>
              </a:extLst>
            </p:cNvPr>
            <p:cNvSpPr/>
            <p:nvPr/>
          </p:nvSpPr>
          <p:spPr>
            <a:xfrm>
              <a:off x="2501397" y="3376306"/>
              <a:ext cx="4006124" cy="38033"/>
            </a:xfrm>
            <a:custGeom>
              <a:avLst/>
              <a:gdLst>
                <a:gd name="connsiteX0" fmla="*/ 14287 w 3009900"/>
                <a:gd name="connsiteY0" fmla="*/ 14287 h 28575"/>
                <a:gd name="connsiteX1" fmla="*/ 2996184 w 3009900"/>
                <a:gd name="connsiteY1" fmla="*/ 1428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09900" h="28575">
                  <a:moveTo>
                    <a:pt x="14287" y="14287"/>
                  </a:moveTo>
                  <a:lnTo>
                    <a:pt x="2996184" y="14287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6" name="Frihåndsform: figur 225">
              <a:extLst>
                <a:ext uri="{FF2B5EF4-FFF2-40B4-BE49-F238E27FC236}">
                  <a16:creationId xmlns:a16="http://schemas.microsoft.com/office/drawing/2014/main" id="{5F20D381-5D46-421C-88F7-964910548919}"/>
                </a:ext>
              </a:extLst>
            </p:cNvPr>
            <p:cNvSpPr/>
            <p:nvPr/>
          </p:nvSpPr>
          <p:spPr>
            <a:xfrm>
              <a:off x="2514074" y="3026151"/>
              <a:ext cx="38033" cy="380328"/>
            </a:xfrm>
            <a:custGeom>
              <a:avLst/>
              <a:gdLst>
                <a:gd name="connsiteX0" fmla="*/ 14287 w 28575"/>
                <a:gd name="connsiteY0" fmla="*/ 277368 h 285750"/>
                <a:gd name="connsiteX1" fmla="*/ 14287 w 28575"/>
                <a:gd name="connsiteY1" fmla="*/ 14288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0">
                  <a:moveTo>
                    <a:pt x="14287" y="277368"/>
                  </a:moveTo>
                  <a:lnTo>
                    <a:pt x="14287" y="14288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7" name="Frihåndsform: figur 226">
              <a:extLst>
                <a:ext uri="{FF2B5EF4-FFF2-40B4-BE49-F238E27FC236}">
                  <a16:creationId xmlns:a16="http://schemas.microsoft.com/office/drawing/2014/main" id="{FB2FE0B8-CA2F-4495-BC0E-36AAA0BE6A53}"/>
                </a:ext>
              </a:extLst>
            </p:cNvPr>
            <p:cNvSpPr/>
            <p:nvPr/>
          </p:nvSpPr>
          <p:spPr>
            <a:xfrm>
              <a:off x="6455670" y="1463762"/>
              <a:ext cx="38033" cy="380328"/>
            </a:xfrm>
            <a:custGeom>
              <a:avLst/>
              <a:gdLst>
                <a:gd name="connsiteX0" fmla="*/ 14287 w 28575"/>
                <a:gd name="connsiteY0" fmla="*/ 14287 h 285750"/>
                <a:gd name="connsiteX1" fmla="*/ 14287 w 28575"/>
                <a:gd name="connsiteY1" fmla="*/ 277273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85750">
                  <a:moveTo>
                    <a:pt x="14287" y="14287"/>
                  </a:moveTo>
                  <a:lnTo>
                    <a:pt x="14287" y="277273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8" name="Frihåndsform: figur 227">
              <a:extLst>
                <a:ext uri="{FF2B5EF4-FFF2-40B4-BE49-F238E27FC236}">
                  <a16:creationId xmlns:a16="http://schemas.microsoft.com/office/drawing/2014/main" id="{0FB3D739-072B-47B2-A058-78EE54EF5223}"/>
                </a:ext>
              </a:extLst>
            </p:cNvPr>
            <p:cNvSpPr/>
            <p:nvPr/>
          </p:nvSpPr>
          <p:spPr>
            <a:xfrm>
              <a:off x="6455670" y="3059746"/>
              <a:ext cx="38033" cy="342295"/>
            </a:xfrm>
            <a:custGeom>
              <a:avLst/>
              <a:gdLst>
                <a:gd name="connsiteX0" fmla="*/ 14287 w 28575"/>
                <a:gd name="connsiteY0" fmla="*/ 14287 h 257175"/>
                <a:gd name="connsiteX1" fmla="*/ 14287 w 28575"/>
                <a:gd name="connsiteY1" fmla="*/ 246412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257175">
                  <a:moveTo>
                    <a:pt x="14287" y="14287"/>
                  </a:moveTo>
                  <a:lnTo>
                    <a:pt x="14287" y="246412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29" name="Frihåndsform: figur 228">
              <a:extLst>
                <a:ext uri="{FF2B5EF4-FFF2-40B4-BE49-F238E27FC236}">
                  <a16:creationId xmlns:a16="http://schemas.microsoft.com/office/drawing/2014/main" id="{6586C7C2-F74C-442C-A7CA-758A7E0DCFC2}"/>
                </a:ext>
              </a:extLst>
            </p:cNvPr>
            <p:cNvSpPr/>
            <p:nvPr/>
          </p:nvSpPr>
          <p:spPr>
            <a:xfrm>
              <a:off x="4492415" y="1219338"/>
              <a:ext cx="38033" cy="621203"/>
            </a:xfrm>
            <a:custGeom>
              <a:avLst/>
              <a:gdLst>
                <a:gd name="connsiteX0" fmla="*/ 14287 w 28575"/>
                <a:gd name="connsiteY0" fmla="*/ 14287 h 466725"/>
                <a:gd name="connsiteX1" fmla="*/ 14287 w 28575"/>
                <a:gd name="connsiteY1" fmla="*/ 460915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466725">
                  <a:moveTo>
                    <a:pt x="14287" y="14287"/>
                  </a:moveTo>
                  <a:lnTo>
                    <a:pt x="14287" y="460915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30" name="Frihåndsform: figur 229">
              <a:extLst>
                <a:ext uri="{FF2B5EF4-FFF2-40B4-BE49-F238E27FC236}">
                  <a16:creationId xmlns:a16="http://schemas.microsoft.com/office/drawing/2014/main" id="{ECD801D3-5B5F-4198-AA8C-CEDFE2B9A189}"/>
                </a:ext>
              </a:extLst>
            </p:cNvPr>
            <p:cNvSpPr/>
            <p:nvPr/>
          </p:nvSpPr>
          <p:spPr>
            <a:xfrm>
              <a:off x="4492415" y="3096131"/>
              <a:ext cx="38033" cy="583170"/>
            </a:xfrm>
            <a:custGeom>
              <a:avLst/>
              <a:gdLst>
                <a:gd name="connsiteX0" fmla="*/ 14287 w 28575"/>
                <a:gd name="connsiteY0" fmla="*/ 14288 h 438150"/>
                <a:gd name="connsiteX1" fmla="*/ 14287 w 28575"/>
                <a:gd name="connsiteY1" fmla="*/ 429959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438150">
                  <a:moveTo>
                    <a:pt x="14287" y="14288"/>
                  </a:moveTo>
                  <a:lnTo>
                    <a:pt x="14287" y="429959"/>
                  </a:lnTo>
                </a:path>
              </a:pathLst>
            </a:custGeom>
            <a:ln w="19050" cap="flat">
              <a:solidFill>
                <a:srgbClr val="E2E3E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</p:grpSp>
      <p:grpSp>
        <p:nvGrpSpPr>
          <p:cNvPr id="231" name="i43" hidden="1">
            <a:extLst>
              <a:ext uri="{FF2B5EF4-FFF2-40B4-BE49-F238E27FC236}">
                <a16:creationId xmlns:a16="http://schemas.microsoft.com/office/drawing/2014/main" id="{34D01BAD-B935-491D-BBE8-2ED26A9319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528806" y="1499524"/>
            <a:ext cx="13196802" cy="6147776"/>
            <a:chOff x="724427" y="779877"/>
            <a:chExt cx="7423926" cy="3458124"/>
          </a:xfrm>
        </p:grpSpPr>
        <p:sp>
          <p:nvSpPr>
            <p:cNvPr id="232" name="Frihåndsform: figur 231">
              <a:extLst>
                <a:ext uri="{FF2B5EF4-FFF2-40B4-BE49-F238E27FC236}">
                  <a16:creationId xmlns:a16="http://schemas.microsoft.com/office/drawing/2014/main" id="{91EF804B-2716-4602-B055-9FA8B7389EF4}"/>
                </a:ext>
              </a:extLst>
            </p:cNvPr>
            <p:cNvSpPr/>
            <p:nvPr/>
          </p:nvSpPr>
          <p:spPr>
            <a:xfrm>
              <a:off x="3421582" y="3564745"/>
              <a:ext cx="2438966" cy="673256"/>
            </a:xfrm>
            <a:custGeom>
              <a:avLst/>
              <a:gdLst>
                <a:gd name="connsiteX0" fmla="*/ 9532 w 2438965"/>
                <a:gd name="connsiteY0" fmla="*/ 9537 h 673256"/>
                <a:gd name="connsiteX1" fmla="*/ 9532 w 2438965"/>
                <a:gd name="connsiteY1" fmla="*/ 648495 h 673256"/>
                <a:gd name="connsiteX2" fmla="*/ 35433 w 2438965"/>
                <a:gd name="connsiteY2" fmla="*/ 675425 h 673256"/>
                <a:gd name="connsiteX3" fmla="*/ 36589 w 2438965"/>
                <a:gd name="connsiteY3" fmla="*/ 675425 h 673256"/>
                <a:gd name="connsiteX4" fmla="*/ 2414454 w 2438965"/>
                <a:gd name="connsiteY4" fmla="*/ 675425 h 673256"/>
                <a:gd name="connsiteX5" fmla="*/ 2441384 w 2438965"/>
                <a:gd name="connsiteY5" fmla="*/ 649524 h 673256"/>
                <a:gd name="connsiteX6" fmla="*/ 2441384 w 2438965"/>
                <a:gd name="connsiteY6" fmla="*/ 648495 h 673256"/>
                <a:gd name="connsiteX7" fmla="*/ 2441384 w 2438965"/>
                <a:gd name="connsiteY7" fmla="*/ 36594 h 673256"/>
                <a:gd name="connsiteX8" fmla="*/ 2415610 w 2438965"/>
                <a:gd name="connsiteY8" fmla="*/ 9537 h 673256"/>
                <a:gd name="connsiteX9" fmla="*/ 2414454 w 2438965"/>
                <a:gd name="connsiteY9" fmla="*/ 9537 h 67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8965" h="673256">
                  <a:moveTo>
                    <a:pt x="9532" y="9537"/>
                  </a:moveTo>
                  <a:lnTo>
                    <a:pt x="9532" y="648495"/>
                  </a:lnTo>
                  <a:cubicBezTo>
                    <a:pt x="9253" y="663090"/>
                    <a:pt x="20838" y="675146"/>
                    <a:pt x="35433" y="675425"/>
                  </a:cubicBezTo>
                  <a:cubicBezTo>
                    <a:pt x="35815" y="675438"/>
                    <a:pt x="36208" y="675438"/>
                    <a:pt x="36589" y="675425"/>
                  </a:cubicBezTo>
                  <a:lnTo>
                    <a:pt x="2414454" y="675425"/>
                  </a:lnTo>
                  <a:cubicBezTo>
                    <a:pt x="2429050" y="675705"/>
                    <a:pt x="2441105" y="664107"/>
                    <a:pt x="2441384" y="649524"/>
                  </a:cubicBezTo>
                  <a:cubicBezTo>
                    <a:pt x="2441397" y="649181"/>
                    <a:pt x="2441397" y="648838"/>
                    <a:pt x="2441384" y="648495"/>
                  </a:cubicBezTo>
                  <a:lnTo>
                    <a:pt x="2441384" y="36594"/>
                  </a:lnTo>
                  <a:cubicBezTo>
                    <a:pt x="2441740" y="22011"/>
                    <a:pt x="2430193" y="9892"/>
                    <a:pt x="2415610" y="9537"/>
                  </a:cubicBezTo>
                  <a:cubicBezTo>
                    <a:pt x="2415229" y="9524"/>
                    <a:pt x="2414835" y="9524"/>
                    <a:pt x="2414454" y="9537"/>
                  </a:cubicBezTo>
                  <a:close/>
                </a:path>
              </a:pathLst>
            </a:custGeom>
            <a:solidFill>
              <a:srgbClr val="9FA2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4024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233" name="Frihåndsform: figur 232">
              <a:extLst>
                <a:ext uri="{FF2B5EF4-FFF2-40B4-BE49-F238E27FC236}">
                  <a16:creationId xmlns:a16="http://schemas.microsoft.com/office/drawing/2014/main" id="{4F974F6B-F7CC-4EFE-97E8-633A0588D0C3}"/>
                </a:ext>
              </a:extLst>
            </p:cNvPr>
            <p:cNvSpPr/>
            <p:nvPr/>
          </p:nvSpPr>
          <p:spPr>
            <a:xfrm>
              <a:off x="4534588" y="3426433"/>
              <a:ext cx="215950" cy="190544"/>
            </a:xfrm>
            <a:custGeom>
              <a:avLst/>
              <a:gdLst>
                <a:gd name="connsiteX0" fmla="*/ 94415 w 215950"/>
                <a:gd name="connsiteY0" fmla="*/ 23359 h 190544"/>
                <a:gd name="connsiteX1" fmla="*/ 130618 w 215950"/>
                <a:gd name="connsiteY1" fmla="*/ 23359 h 190544"/>
                <a:gd name="connsiteX2" fmla="*/ 210392 w 215950"/>
                <a:gd name="connsiteY2" fmla="*/ 160170 h 190544"/>
                <a:gd name="connsiteX3" fmla="*/ 192481 w 215950"/>
                <a:gd name="connsiteY3" fmla="*/ 191292 h 190544"/>
                <a:gd name="connsiteX4" fmla="*/ 32551 w 215950"/>
                <a:gd name="connsiteY4" fmla="*/ 191292 h 190544"/>
                <a:gd name="connsiteX5" fmla="*/ 14640 w 215950"/>
                <a:gd name="connsiteY5" fmla="*/ 160170 h 19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950" h="190544">
                  <a:moveTo>
                    <a:pt x="94415" y="23359"/>
                  </a:moveTo>
                  <a:cubicBezTo>
                    <a:pt x="94415" y="23359"/>
                    <a:pt x="112453" y="-7763"/>
                    <a:pt x="130618" y="23359"/>
                  </a:cubicBezTo>
                  <a:lnTo>
                    <a:pt x="210392" y="160170"/>
                  </a:lnTo>
                  <a:cubicBezTo>
                    <a:pt x="210392" y="160170"/>
                    <a:pt x="228431" y="191292"/>
                    <a:pt x="192481" y="191292"/>
                  </a:cubicBezTo>
                  <a:lnTo>
                    <a:pt x="32551" y="191292"/>
                  </a:lnTo>
                  <a:cubicBezTo>
                    <a:pt x="32551" y="191292"/>
                    <a:pt x="-3525" y="191292"/>
                    <a:pt x="14640" y="160170"/>
                  </a:cubicBezTo>
                  <a:close/>
                </a:path>
              </a:pathLst>
            </a:custGeom>
            <a:solidFill>
              <a:srgbClr val="9FA2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34" name="Frihåndsform: figur 233">
              <a:extLst>
                <a:ext uri="{FF2B5EF4-FFF2-40B4-BE49-F238E27FC236}">
                  <a16:creationId xmlns:a16="http://schemas.microsoft.com/office/drawing/2014/main" id="{0E79112A-82FD-4138-B340-3EDC66B8A2D1}"/>
                </a:ext>
              </a:extLst>
            </p:cNvPr>
            <p:cNvSpPr/>
            <p:nvPr/>
          </p:nvSpPr>
          <p:spPr>
            <a:xfrm>
              <a:off x="3438855" y="779877"/>
              <a:ext cx="2438966" cy="673256"/>
            </a:xfrm>
            <a:custGeom>
              <a:avLst/>
              <a:gdLst>
                <a:gd name="connsiteX0" fmla="*/ 9535 w 2438965"/>
                <a:gd name="connsiteY0" fmla="*/ 9538 h 673256"/>
                <a:gd name="connsiteX1" fmla="*/ 9535 w 2438965"/>
                <a:gd name="connsiteY1" fmla="*/ 648369 h 673256"/>
                <a:gd name="connsiteX2" fmla="*/ 35310 w 2438965"/>
                <a:gd name="connsiteY2" fmla="*/ 675424 h 673256"/>
                <a:gd name="connsiteX3" fmla="*/ 36466 w 2438965"/>
                <a:gd name="connsiteY3" fmla="*/ 675427 h 673256"/>
                <a:gd name="connsiteX4" fmla="*/ 2414330 w 2438965"/>
                <a:gd name="connsiteY4" fmla="*/ 675427 h 673256"/>
                <a:gd name="connsiteX5" fmla="*/ 2441642 w 2438965"/>
                <a:gd name="connsiteY5" fmla="*/ 649656 h 673256"/>
                <a:gd name="connsiteX6" fmla="*/ 2441642 w 2438965"/>
                <a:gd name="connsiteY6" fmla="*/ 648369 h 673256"/>
                <a:gd name="connsiteX7" fmla="*/ 2441642 w 2438965"/>
                <a:gd name="connsiteY7" fmla="*/ 36596 h 673256"/>
                <a:gd name="connsiteX8" fmla="*/ 2415613 w 2438965"/>
                <a:gd name="connsiteY8" fmla="*/ 9532 h 673256"/>
                <a:gd name="connsiteX9" fmla="*/ 2414330 w 2438965"/>
                <a:gd name="connsiteY9" fmla="*/ 9538 h 673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8965" h="673256">
                  <a:moveTo>
                    <a:pt x="9535" y="9538"/>
                  </a:moveTo>
                  <a:lnTo>
                    <a:pt x="9535" y="648369"/>
                  </a:lnTo>
                  <a:cubicBezTo>
                    <a:pt x="9180" y="662957"/>
                    <a:pt x="20727" y="675071"/>
                    <a:pt x="35310" y="675424"/>
                  </a:cubicBezTo>
                  <a:cubicBezTo>
                    <a:pt x="35691" y="675433"/>
                    <a:pt x="36085" y="675434"/>
                    <a:pt x="36466" y="675427"/>
                  </a:cubicBezTo>
                  <a:lnTo>
                    <a:pt x="2414330" y="675427"/>
                  </a:lnTo>
                  <a:cubicBezTo>
                    <a:pt x="2428989" y="675851"/>
                    <a:pt x="2441210" y="664313"/>
                    <a:pt x="2441642" y="649656"/>
                  </a:cubicBezTo>
                  <a:cubicBezTo>
                    <a:pt x="2441654" y="649227"/>
                    <a:pt x="2441654" y="648799"/>
                    <a:pt x="2441642" y="648369"/>
                  </a:cubicBezTo>
                  <a:lnTo>
                    <a:pt x="2441642" y="36596"/>
                  </a:lnTo>
                  <a:cubicBezTo>
                    <a:pt x="2441934" y="21936"/>
                    <a:pt x="2430273" y="9819"/>
                    <a:pt x="2415613" y="9532"/>
                  </a:cubicBezTo>
                  <a:cubicBezTo>
                    <a:pt x="2415194" y="9524"/>
                    <a:pt x="2414762" y="9526"/>
                    <a:pt x="2414330" y="9538"/>
                  </a:cubicBezTo>
                  <a:close/>
                </a:path>
              </a:pathLst>
            </a:custGeom>
            <a:solidFill>
              <a:srgbClr val="9FA2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nb-NO" sz="4024">
                  <a:solidFill>
                    <a:schemeClr val="bg1"/>
                  </a:solidFill>
                </a:rPr>
                <a:t>Tekst</a:t>
              </a:r>
            </a:p>
          </p:txBody>
        </p:sp>
        <p:sp>
          <p:nvSpPr>
            <p:cNvPr id="235" name="Frihåndsform: figur 234">
              <a:extLst>
                <a:ext uri="{FF2B5EF4-FFF2-40B4-BE49-F238E27FC236}">
                  <a16:creationId xmlns:a16="http://schemas.microsoft.com/office/drawing/2014/main" id="{74ADC1AB-921B-4E16-8724-185665399E56}"/>
                </a:ext>
              </a:extLst>
            </p:cNvPr>
            <p:cNvSpPr/>
            <p:nvPr/>
          </p:nvSpPr>
          <p:spPr>
            <a:xfrm>
              <a:off x="4534588" y="1400554"/>
              <a:ext cx="215950" cy="190544"/>
            </a:xfrm>
            <a:custGeom>
              <a:avLst/>
              <a:gdLst>
                <a:gd name="connsiteX0" fmla="*/ 94415 w 215950"/>
                <a:gd name="connsiteY0" fmla="*/ 177460 h 190544"/>
                <a:gd name="connsiteX1" fmla="*/ 130618 w 215950"/>
                <a:gd name="connsiteY1" fmla="*/ 177460 h 190544"/>
                <a:gd name="connsiteX2" fmla="*/ 210392 w 215950"/>
                <a:gd name="connsiteY2" fmla="*/ 40522 h 190544"/>
                <a:gd name="connsiteX3" fmla="*/ 192481 w 215950"/>
                <a:gd name="connsiteY3" fmla="*/ 9527 h 190544"/>
                <a:gd name="connsiteX4" fmla="*/ 32551 w 215950"/>
                <a:gd name="connsiteY4" fmla="*/ 9527 h 190544"/>
                <a:gd name="connsiteX5" fmla="*/ 14640 w 215950"/>
                <a:gd name="connsiteY5" fmla="*/ 40522 h 19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5950" h="190544">
                  <a:moveTo>
                    <a:pt x="94415" y="177460"/>
                  </a:moveTo>
                  <a:cubicBezTo>
                    <a:pt x="94415" y="177460"/>
                    <a:pt x="112453" y="208582"/>
                    <a:pt x="130618" y="177460"/>
                  </a:cubicBezTo>
                  <a:lnTo>
                    <a:pt x="210392" y="40522"/>
                  </a:lnTo>
                  <a:cubicBezTo>
                    <a:pt x="210392" y="40522"/>
                    <a:pt x="228431" y="9527"/>
                    <a:pt x="192481" y="9527"/>
                  </a:cubicBezTo>
                  <a:lnTo>
                    <a:pt x="32551" y="9527"/>
                  </a:lnTo>
                  <a:cubicBezTo>
                    <a:pt x="32551" y="9527"/>
                    <a:pt x="-3525" y="9527"/>
                    <a:pt x="14640" y="40522"/>
                  </a:cubicBezTo>
                  <a:close/>
                </a:path>
              </a:pathLst>
            </a:custGeom>
            <a:solidFill>
              <a:srgbClr val="9FA2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36" name="Frihåndsform: figur 235">
              <a:extLst>
                <a:ext uri="{FF2B5EF4-FFF2-40B4-BE49-F238E27FC236}">
                  <a16:creationId xmlns:a16="http://schemas.microsoft.com/office/drawing/2014/main" id="{33BFA7B3-518F-4D06-9F34-F74245419ABC}"/>
                </a:ext>
              </a:extLst>
            </p:cNvPr>
            <p:cNvSpPr/>
            <p:nvPr/>
          </p:nvSpPr>
          <p:spPr>
            <a:xfrm>
              <a:off x="1063666" y="2249364"/>
              <a:ext cx="127029" cy="50812"/>
            </a:xfrm>
            <a:custGeom>
              <a:avLst/>
              <a:gdLst>
                <a:gd name="connsiteX0" fmla="*/ 9527 w 127029"/>
                <a:gd name="connsiteY0" fmla="*/ 9527 h 50811"/>
                <a:gd name="connsiteX1" fmla="*/ 120424 w 127029"/>
                <a:gd name="connsiteY1" fmla="*/ 9527 h 50811"/>
                <a:gd name="connsiteX2" fmla="*/ 9527 w 127029"/>
                <a:gd name="connsiteY2" fmla="*/ 9527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9" h="50811">
                  <a:moveTo>
                    <a:pt x="9527" y="9527"/>
                  </a:moveTo>
                  <a:lnTo>
                    <a:pt x="120424" y="9527"/>
                  </a:lnTo>
                  <a:cubicBezTo>
                    <a:pt x="120424" y="9527"/>
                    <a:pt x="74312" y="96542"/>
                    <a:pt x="9527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37" name="Frihåndsform: figur 236">
              <a:extLst>
                <a:ext uri="{FF2B5EF4-FFF2-40B4-BE49-F238E27FC236}">
                  <a16:creationId xmlns:a16="http://schemas.microsoft.com/office/drawing/2014/main" id="{54CB814F-3769-4E62-BE25-D52A3E888292}"/>
                </a:ext>
              </a:extLst>
            </p:cNvPr>
            <p:cNvSpPr/>
            <p:nvPr/>
          </p:nvSpPr>
          <p:spPr>
            <a:xfrm>
              <a:off x="802493" y="2385286"/>
              <a:ext cx="647850" cy="342980"/>
            </a:xfrm>
            <a:custGeom>
              <a:avLst/>
              <a:gdLst>
                <a:gd name="connsiteX0" fmla="*/ 494399 w 647850"/>
                <a:gd name="connsiteY0" fmla="*/ 9527 h 342979"/>
                <a:gd name="connsiteX1" fmla="*/ 465183 w 647850"/>
                <a:gd name="connsiteY1" fmla="*/ 11306 h 342979"/>
                <a:gd name="connsiteX2" fmla="*/ 325450 w 647850"/>
                <a:gd name="connsiteY2" fmla="*/ 73931 h 342979"/>
                <a:gd name="connsiteX3" fmla="*/ 185718 w 647850"/>
                <a:gd name="connsiteY3" fmla="*/ 11306 h 342979"/>
                <a:gd name="connsiteX4" fmla="*/ 156628 w 647850"/>
                <a:gd name="connsiteY4" fmla="*/ 9527 h 342979"/>
                <a:gd name="connsiteX5" fmla="*/ 9528 w 647850"/>
                <a:gd name="connsiteY5" fmla="*/ 181525 h 342979"/>
                <a:gd name="connsiteX6" fmla="*/ 9528 w 647850"/>
                <a:gd name="connsiteY6" fmla="*/ 299536 h 342979"/>
                <a:gd name="connsiteX7" fmla="*/ 51066 w 647850"/>
                <a:gd name="connsiteY7" fmla="*/ 341582 h 342979"/>
                <a:gd name="connsiteX8" fmla="*/ 51194 w 647850"/>
                <a:gd name="connsiteY8" fmla="*/ 341582 h 342979"/>
                <a:gd name="connsiteX9" fmla="*/ 600596 w 647850"/>
                <a:gd name="connsiteY9" fmla="*/ 341582 h 342979"/>
                <a:gd name="connsiteX10" fmla="*/ 642770 w 647850"/>
                <a:gd name="connsiteY10" fmla="*/ 299536 h 342979"/>
                <a:gd name="connsiteX11" fmla="*/ 642770 w 647850"/>
                <a:gd name="connsiteY11" fmla="*/ 181525 h 342979"/>
                <a:gd name="connsiteX12" fmla="*/ 494399 w 647850"/>
                <a:gd name="connsiteY12" fmla="*/ 9527 h 34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7850" h="342979">
                  <a:moveTo>
                    <a:pt x="494399" y="9527"/>
                  </a:moveTo>
                  <a:lnTo>
                    <a:pt x="465183" y="11306"/>
                  </a:lnTo>
                  <a:cubicBezTo>
                    <a:pt x="428920" y="50113"/>
                    <a:pt x="378554" y="72686"/>
                    <a:pt x="325450" y="73931"/>
                  </a:cubicBezTo>
                  <a:cubicBezTo>
                    <a:pt x="272324" y="72788"/>
                    <a:pt x="221920" y="50202"/>
                    <a:pt x="185718" y="11306"/>
                  </a:cubicBezTo>
                  <a:lnTo>
                    <a:pt x="156628" y="9527"/>
                  </a:lnTo>
                  <a:cubicBezTo>
                    <a:pt x="70502" y="31376"/>
                    <a:pt x="9528" y="91715"/>
                    <a:pt x="9528" y="181525"/>
                  </a:cubicBezTo>
                  <a:lnTo>
                    <a:pt x="9528" y="299536"/>
                  </a:lnTo>
                  <a:cubicBezTo>
                    <a:pt x="9388" y="322617"/>
                    <a:pt x="27985" y="341443"/>
                    <a:pt x="51066" y="341582"/>
                  </a:cubicBezTo>
                  <a:cubicBezTo>
                    <a:pt x="51108" y="341582"/>
                    <a:pt x="51151" y="341582"/>
                    <a:pt x="51194" y="341582"/>
                  </a:cubicBezTo>
                  <a:lnTo>
                    <a:pt x="600596" y="341582"/>
                  </a:lnTo>
                  <a:cubicBezTo>
                    <a:pt x="623809" y="341519"/>
                    <a:pt x="642630" y="322744"/>
                    <a:pt x="642770" y="299536"/>
                  </a:cubicBezTo>
                  <a:lnTo>
                    <a:pt x="642770" y="181525"/>
                  </a:lnTo>
                  <a:cubicBezTo>
                    <a:pt x="642770" y="91715"/>
                    <a:pt x="581542" y="31376"/>
                    <a:pt x="494399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38" name="Frihåndsform: figur 237">
              <a:extLst>
                <a:ext uri="{FF2B5EF4-FFF2-40B4-BE49-F238E27FC236}">
                  <a16:creationId xmlns:a16="http://schemas.microsoft.com/office/drawing/2014/main" id="{430A23C7-E626-4640-A1C4-045B9EE8EEE5}"/>
                </a:ext>
              </a:extLst>
            </p:cNvPr>
            <p:cNvSpPr/>
            <p:nvPr/>
          </p:nvSpPr>
          <p:spPr>
            <a:xfrm>
              <a:off x="908461" y="1911716"/>
              <a:ext cx="431900" cy="482712"/>
            </a:xfrm>
            <a:custGeom>
              <a:avLst/>
              <a:gdLst>
                <a:gd name="connsiteX0" fmla="*/ 371790 w 431900"/>
                <a:gd name="connsiteY0" fmla="*/ 234374 h 482711"/>
                <a:gd name="connsiteX1" fmla="*/ 221514 w 431900"/>
                <a:gd name="connsiteY1" fmla="*/ 440923 h 482711"/>
                <a:gd name="connsiteX2" fmla="*/ 72128 w 431900"/>
                <a:gd name="connsiteY2" fmla="*/ 252793 h 482711"/>
                <a:gd name="connsiteX3" fmla="*/ 138564 w 431900"/>
                <a:gd name="connsiteY3" fmla="*/ 94133 h 482711"/>
                <a:gd name="connsiteX4" fmla="*/ 371409 w 431900"/>
                <a:gd name="connsiteY4" fmla="*/ 213541 h 482711"/>
                <a:gd name="connsiteX5" fmla="*/ 371409 w 431900"/>
                <a:gd name="connsiteY5" fmla="*/ 234374 h 482711"/>
                <a:gd name="connsiteX6" fmla="*/ 312213 w 431900"/>
                <a:gd name="connsiteY6" fmla="*/ 27315 h 482711"/>
                <a:gd name="connsiteX7" fmla="*/ 113793 w 431900"/>
                <a:gd name="connsiteY7" fmla="*/ 52721 h 482711"/>
                <a:gd name="connsiteX8" fmla="*/ 26905 w 431900"/>
                <a:gd name="connsiteY8" fmla="*/ 219130 h 482711"/>
                <a:gd name="connsiteX9" fmla="*/ 10010 w 431900"/>
                <a:gd name="connsiteY9" fmla="*/ 276166 h 482711"/>
                <a:gd name="connsiteX10" fmla="*/ 58028 w 431900"/>
                <a:gd name="connsiteY10" fmla="*/ 339681 h 482711"/>
                <a:gd name="connsiteX11" fmla="*/ 221133 w 431900"/>
                <a:gd name="connsiteY11" fmla="*/ 475856 h 482711"/>
                <a:gd name="connsiteX12" fmla="*/ 385001 w 431900"/>
                <a:gd name="connsiteY12" fmla="*/ 338538 h 482711"/>
                <a:gd name="connsiteX13" fmla="*/ 429970 w 431900"/>
                <a:gd name="connsiteY13" fmla="*/ 276166 h 482711"/>
                <a:gd name="connsiteX14" fmla="*/ 405961 w 431900"/>
                <a:gd name="connsiteY14" fmla="*/ 215065 h 482711"/>
                <a:gd name="connsiteX15" fmla="*/ 311832 w 431900"/>
                <a:gd name="connsiteY15" fmla="*/ 27315 h 48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900" h="482711">
                  <a:moveTo>
                    <a:pt x="371790" y="234374"/>
                  </a:moveTo>
                  <a:cubicBezTo>
                    <a:pt x="371790" y="327994"/>
                    <a:pt x="304719" y="440923"/>
                    <a:pt x="221514" y="440923"/>
                  </a:cubicBezTo>
                  <a:cubicBezTo>
                    <a:pt x="143772" y="440923"/>
                    <a:pt x="80131" y="342094"/>
                    <a:pt x="72128" y="252793"/>
                  </a:cubicBezTo>
                  <a:cubicBezTo>
                    <a:pt x="82290" y="214684"/>
                    <a:pt x="97534" y="135291"/>
                    <a:pt x="138564" y="94133"/>
                  </a:cubicBezTo>
                  <a:cubicBezTo>
                    <a:pt x="177943" y="136815"/>
                    <a:pt x="254288" y="213033"/>
                    <a:pt x="371409" y="213541"/>
                  </a:cubicBezTo>
                  <a:cubicBezTo>
                    <a:pt x="371409" y="220146"/>
                    <a:pt x="371409" y="227133"/>
                    <a:pt x="371409" y="234374"/>
                  </a:cubicBezTo>
                  <a:moveTo>
                    <a:pt x="312213" y="27315"/>
                  </a:moveTo>
                  <a:cubicBezTo>
                    <a:pt x="211860" y="-24258"/>
                    <a:pt x="113793" y="52721"/>
                    <a:pt x="113793" y="52721"/>
                  </a:cubicBezTo>
                  <a:cubicBezTo>
                    <a:pt x="113793" y="52721"/>
                    <a:pt x="483" y="83590"/>
                    <a:pt x="26905" y="219130"/>
                  </a:cubicBezTo>
                  <a:cubicBezTo>
                    <a:pt x="15219" y="228022"/>
                    <a:pt x="7470" y="244536"/>
                    <a:pt x="10010" y="276166"/>
                  </a:cubicBezTo>
                  <a:cubicBezTo>
                    <a:pt x="13440" y="317832"/>
                    <a:pt x="35416" y="335489"/>
                    <a:pt x="58028" y="339681"/>
                  </a:cubicBezTo>
                  <a:cubicBezTo>
                    <a:pt x="88769" y="414755"/>
                    <a:pt x="149616" y="475856"/>
                    <a:pt x="221133" y="475856"/>
                  </a:cubicBezTo>
                  <a:cubicBezTo>
                    <a:pt x="292651" y="475856"/>
                    <a:pt x="354260" y="413866"/>
                    <a:pt x="385001" y="338538"/>
                  </a:cubicBezTo>
                  <a:cubicBezTo>
                    <a:pt x="406723" y="333965"/>
                    <a:pt x="426667" y="315926"/>
                    <a:pt x="429970" y="276166"/>
                  </a:cubicBezTo>
                  <a:cubicBezTo>
                    <a:pt x="433019" y="238057"/>
                    <a:pt x="421459" y="222179"/>
                    <a:pt x="405961" y="215065"/>
                  </a:cubicBezTo>
                  <a:cubicBezTo>
                    <a:pt x="418664" y="126144"/>
                    <a:pt x="377507" y="60978"/>
                    <a:pt x="311832" y="2731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39" name="Frihåndsform: figur 238">
              <a:extLst>
                <a:ext uri="{FF2B5EF4-FFF2-40B4-BE49-F238E27FC236}">
                  <a16:creationId xmlns:a16="http://schemas.microsoft.com/office/drawing/2014/main" id="{80B2B636-7089-42E8-975B-26EDE285715E}"/>
                </a:ext>
              </a:extLst>
            </p:cNvPr>
            <p:cNvSpPr/>
            <p:nvPr/>
          </p:nvSpPr>
          <p:spPr>
            <a:xfrm>
              <a:off x="1038364" y="2138214"/>
              <a:ext cx="50812" cy="50812"/>
            </a:xfrm>
            <a:custGeom>
              <a:avLst/>
              <a:gdLst>
                <a:gd name="connsiteX0" fmla="*/ 30765 w 50811"/>
                <a:gd name="connsiteY0" fmla="*/ 53352 h 50811"/>
                <a:gd name="connsiteX1" fmla="*/ 9550 w 50811"/>
                <a:gd name="connsiteY1" fmla="*/ 30157 h 50811"/>
                <a:gd name="connsiteX2" fmla="*/ 26573 w 50811"/>
                <a:gd name="connsiteY2" fmla="*/ 9527 h 50811"/>
                <a:gd name="connsiteX3" fmla="*/ 47788 w 50811"/>
                <a:gd name="connsiteY3" fmla="*/ 32723 h 50811"/>
                <a:gd name="connsiteX4" fmla="*/ 30765 w 50811"/>
                <a:gd name="connsiteY4" fmla="*/ 53352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11" h="50811">
                  <a:moveTo>
                    <a:pt x="30765" y="53352"/>
                  </a:moveTo>
                  <a:cubicBezTo>
                    <a:pt x="18500" y="52806"/>
                    <a:pt x="9001" y="42415"/>
                    <a:pt x="9550" y="30157"/>
                  </a:cubicBezTo>
                  <a:cubicBezTo>
                    <a:pt x="9992" y="20249"/>
                    <a:pt x="16935" y="11839"/>
                    <a:pt x="26573" y="9527"/>
                  </a:cubicBezTo>
                  <a:cubicBezTo>
                    <a:pt x="38838" y="10073"/>
                    <a:pt x="48337" y="20464"/>
                    <a:pt x="47788" y="32723"/>
                  </a:cubicBezTo>
                  <a:cubicBezTo>
                    <a:pt x="47346" y="42631"/>
                    <a:pt x="40403" y="51040"/>
                    <a:pt x="30765" y="53352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0" name="Frihåndsform: figur 239">
              <a:extLst>
                <a:ext uri="{FF2B5EF4-FFF2-40B4-BE49-F238E27FC236}">
                  <a16:creationId xmlns:a16="http://schemas.microsoft.com/office/drawing/2014/main" id="{67568242-46BE-441E-81E2-EAA91AE9FBFB}"/>
                </a:ext>
              </a:extLst>
            </p:cNvPr>
            <p:cNvSpPr/>
            <p:nvPr/>
          </p:nvSpPr>
          <p:spPr>
            <a:xfrm>
              <a:off x="1155602" y="2138137"/>
              <a:ext cx="63515" cy="63515"/>
            </a:xfrm>
            <a:custGeom>
              <a:avLst/>
              <a:gdLst>
                <a:gd name="connsiteX0" fmla="*/ 36745 w 63514"/>
                <a:gd name="connsiteY0" fmla="*/ 53429 h 63514"/>
                <a:gd name="connsiteX1" fmla="*/ 10098 w 63514"/>
                <a:gd name="connsiteY1" fmla="*/ 36750 h 63514"/>
                <a:gd name="connsiteX2" fmla="*/ 26780 w 63514"/>
                <a:gd name="connsiteY2" fmla="*/ 10099 h 63514"/>
                <a:gd name="connsiteX3" fmla="*/ 53426 w 63514"/>
                <a:gd name="connsiteY3" fmla="*/ 26778 h 63514"/>
                <a:gd name="connsiteX4" fmla="*/ 53894 w 63514"/>
                <a:gd name="connsiteY4" fmla="*/ 29675 h 63514"/>
                <a:gd name="connsiteX5" fmla="*/ 36745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5" y="53429"/>
                  </a:moveTo>
                  <a:cubicBezTo>
                    <a:pt x="24780" y="56186"/>
                    <a:pt x="12849" y="48716"/>
                    <a:pt x="10098" y="36750"/>
                  </a:cubicBezTo>
                  <a:cubicBezTo>
                    <a:pt x="7345" y="24784"/>
                    <a:pt x="14815" y="12856"/>
                    <a:pt x="26780" y="10099"/>
                  </a:cubicBezTo>
                  <a:cubicBezTo>
                    <a:pt x="38744" y="7343"/>
                    <a:pt x="50675" y="14812"/>
                    <a:pt x="53426" y="26778"/>
                  </a:cubicBezTo>
                  <a:cubicBezTo>
                    <a:pt x="53646" y="27731"/>
                    <a:pt x="53803" y="28696"/>
                    <a:pt x="53894" y="29675"/>
                  </a:cubicBezTo>
                  <a:cubicBezTo>
                    <a:pt x="55651" y="40955"/>
                    <a:pt x="48004" y="51549"/>
                    <a:pt x="36745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1" name="Frihåndsform: figur 240">
              <a:extLst>
                <a:ext uri="{FF2B5EF4-FFF2-40B4-BE49-F238E27FC236}">
                  <a16:creationId xmlns:a16="http://schemas.microsoft.com/office/drawing/2014/main" id="{0866B42F-06CB-43B9-A58E-A133450A6007}"/>
                </a:ext>
              </a:extLst>
            </p:cNvPr>
            <p:cNvSpPr/>
            <p:nvPr/>
          </p:nvSpPr>
          <p:spPr>
            <a:xfrm>
              <a:off x="2133127" y="2249364"/>
              <a:ext cx="127029" cy="50812"/>
            </a:xfrm>
            <a:custGeom>
              <a:avLst/>
              <a:gdLst>
                <a:gd name="connsiteX0" fmla="*/ 9527 w 127029"/>
                <a:gd name="connsiteY0" fmla="*/ 9527 h 50811"/>
                <a:gd name="connsiteX1" fmla="*/ 120424 w 127029"/>
                <a:gd name="connsiteY1" fmla="*/ 9527 h 50811"/>
                <a:gd name="connsiteX2" fmla="*/ 9527 w 127029"/>
                <a:gd name="connsiteY2" fmla="*/ 9527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9" h="50811">
                  <a:moveTo>
                    <a:pt x="9527" y="9527"/>
                  </a:moveTo>
                  <a:lnTo>
                    <a:pt x="120424" y="9527"/>
                  </a:lnTo>
                  <a:cubicBezTo>
                    <a:pt x="120424" y="9527"/>
                    <a:pt x="74312" y="96542"/>
                    <a:pt x="9527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2" name="Frihåndsform: figur 241">
              <a:extLst>
                <a:ext uri="{FF2B5EF4-FFF2-40B4-BE49-F238E27FC236}">
                  <a16:creationId xmlns:a16="http://schemas.microsoft.com/office/drawing/2014/main" id="{1993824D-5947-4D21-AA95-3C4EC9A489D1}"/>
                </a:ext>
              </a:extLst>
            </p:cNvPr>
            <p:cNvSpPr/>
            <p:nvPr/>
          </p:nvSpPr>
          <p:spPr>
            <a:xfrm>
              <a:off x="1871954" y="2385286"/>
              <a:ext cx="647850" cy="342980"/>
            </a:xfrm>
            <a:custGeom>
              <a:avLst/>
              <a:gdLst>
                <a:gd name="connsiteX0" fmla="*/ 494399 w 647850"/>
                <a:gd name="connsiteY0" fmla="*/ 9527 h 342979"/>
                <a:gd name="connsiteX1" fmla="*/ 465183 w 647850"/>
                <a:gd name="connsiteY1" fmla="*/ 11306 h 342979"/>
                <a:gd name="connsiteX2" fmla="*/ 202288 w 647850"/>
                <a:gd name="connsiteY2" fmla="*/ 26981 h 342979"/>
                <a:gd name="connsiteX3" fmla="*/ 186607 w 647850"/>
                <a:gd name="connsiteY3" fmla="*/ 11306 h 342979"/>
                <a:gd name="connsiteX4" fmla="*/ 157644 w 647850"/>
                <a:gd name="connsiteY4" fmla="*/ 9527 h 342979"/>
                <a:gd name="connsiteX5" fmla="*/ 9528 w 647850"/>
                <a:gd name="connsiteY5" fmla="*/ 181525 h 342979"/>
                <a:gd name="connsiteX6" fmla="*/ 9528 w 647850"/>
                <a:gd name="connsiteY6" fmla="*/ 299536 h 342979"/>
                <a:gd name="connsiteX7" fmla="*/ 51065 w 647850"/>
                <a:gd name="connsiteY7" fmla="*/ 341582 h 342979"/>
                <a:gd name="connsiteX8" fmla="*/ 51194 w 647850"/>
                <a:gd name="connsiteY8" fmla="*/ 341582 h 342979"/>
                <a:gd name="connsiteX9" fmla="*/ 600596 w 647850"/>
                <a:gd name="connsiteY9" fmla="*/ 341582 h 342979"/>
                <a:gd name="connsiteX10" fmla="*/ 642770 w 647850"/>
                <a:gd name="connsiteY10" fmla="*/ 299536 h 342979"/>
                <a:gd name="connsiteX11" fmla="*/ 642770 w 647850"/>
                <a:gd name="connsiteY11" fmla="*/ 181525 h 342979"/>
                <a:gd name="connsiteX12" fmla="*/ 494399 w 647850"/>
                <a:gd name="connsiteY12" fmla="*/ 9527 h 34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7850" h="342979">
                  <a:moveTo>
                    <a:pt x="494399" y="9527"/>
                  </a:moveTo>
                  <a:lnTo>
                    <a:pt x="465183" y="11306"/>
                  </a:lnTo>
                  <a:cubicBezTo>
                    <a:pt x="396917" y="88235"/>
                    <a:pt x="279212" y="95247"/>
                    <a:pt x="202288" y="26981"/>
                  </a:cubicBezTo>
                  <a:cubicBezTo>
                    <a:pt x="196754" y="22078"/>
                    <a:pt x="191518" y="16844"/>
                    <a:pt x="186607" y="11306"/>
                  </a:cubicBezTo>
                  <a:lnTo>
                    <a:pt x="157644" y="9527"/>
                  </a:lnTo>
                  <a:cubicBezTo>
                    <a:pt x="70502" y="31376"/>
                    <a:pt x="9528" y="91715"/>
                    <a:pt x="9528" y="181525"/>
                  </a:cubicBezTo>
                  <a:lnTo>
                    <a:pt x="9528" y="299536"/>
                  </a:lnTo>
                  <a:cubicBezTo>
                    <a:pt x="9387" y="322617"/>
                    <a:pt x="27984" y="341443"/>
                    <a:pt x="51065" y="341582"/>
                  </a:cubicBezTo>
                  <a:cubicBezTo>
                    <a:pt x="51109" y="341582"/>
                    <a:pt x="51150" y="341582"/>
                    <a:pt x="51194" y="341582"/>
                  </a:cubicBezTo>
                  <a:lnTo>
                    <a:pt x="600596" y="341582"/>
                  </a:lnTo>
                  <a:cubicBezTo>
                    <a:pt x="623804" y="341519"/>
                    <a:pt x="642630" y="322744"/>
                    <a:pt x="642770" y="299536"/>
                  </a:cubicBezTo>
                  <a:lnTo>
                    <a:pt x="642770" y="181525"/>
                  </a:lnTo>
                  <a:cubicBezTo>
                    <a:pt x="642770" y="91715"/>
                    <a:pt x="581542" y="31376"/>
                    <a:pt x="494399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3" name="Frihåndsform: figur 242">
              <a:extLst>
                <a:ext uri="{FF2B5EF4-FFF2-40B4-BE49-F238E27FC236}">
                  <a16:creationId xmlns:a16="http://schemas.microsoft.com/office/drawing/2014/main" id="{E0C8F9C2-29D0-4C0E-B891-004CCA73F6F8}"/>
                </a:ext>
              </a:extLst>
            </p:cNvPr>
            <p:cNvSpPr/>
            <p:nvPr/>
          </p:nvSpPr>
          <p:spPr>
            <a:xfrm>
              <a:off x="1977541" y="1911716"/>
              <a:ext cx="431900" cy="482712"/>
            </a:xfrm>
            <a:custGeom>
              <a:avLst/>
              <a:gdLst>
                <a:gd name="connsiteX0" fmla="*/ 372171 w 431900"/>
                <a:gd name="connsiteY0" fmla="*/ 234374 h 482711"/>
                <a:gd name="connsiteX1" fmla="*/ 221896 w 431900"/>
                <a:gd name="connsiteY1" fmla="*/ 440923 h 482711"/>
                <a:gd name="connsiteX2" fmla="*/ 72509 w 431900"/>
                <a:gd name="connsiteY2" fmla="*/ 252793 h 482711"/>
                <a:gd name="connsiteX3" fmla="*/ 138945 w 431900"/>
                <a:gd name="connsiteY3" fmla="*/ 94133 h 482711"/>
                <a:gd name="connsiteX4" fmla="*/ 371790 w 431900"/>
                <a:gd name="connsiteY4" fmla="*/ 213541 h 482711"/>
                <a:gd name="connsiteX5" fmla="*/ 371790 w 431900"/>
                <a:gd name="connsiteY5" fmla="*/ 234374 h 482711"/>
                <a:gd name="connsiteX6" fmla="*/ 312214 w 431900"/>
                <a:gd name="connsiteY6" fmla="*/ 27315 h 482711"/>
                <a:gd name="connsiteX7" fmla="*/ 113793 w 431900"/>
                <a:gd name="connsiteY7" fmla="*/ 52721 h 482711"/>
                <a:gd name="connsiteX8" fmla="*/ 26905 w 431900"/>
                <a:gd name="connsiteY8" fmla="*/ 219765 h 482711"/>
                <a:gd name="connsiteX9" fmla="*/ 10010 w 431900"/>
                <a:gd name="connsiteY9" fmla="*/ 276801 h 482711"/>
                <a:gd name="connsiteX10" fmla="*/ 58028 w 431900"/>
                <a:gd name="connsiteY10" fmla="*/ 340316 h 482711"/>
                <a:gd name="connsiteX11" fmla="*/ 221514 w 431900"/>
                <a:gd name="connsiteY11" fmla="*/ 477127 h 482711"/>
                <a:gd name="connsiteX12" fmla="*/ 385382 w 431900"/>
                <a:gd name="connsiteY12" fmla="*/ 339808 h 482711"/>
                <a:gd name="connsiteX13" fmla="*/ 430351 w 431900"/>
                <a:gd name="connsiteY13" fmla="*/ 277437 h 482711"/>
                <a:gd name="connsiteX14" fmla="*/ 406342 w 431900"/>
                <a:gd name="connsiteY14" fmla="*/ 216335 h 482711"/>
                <a:gd name="connsiteX15" fmla="*/ 312214 w 431900"/>
                <a:gd name="connsiteY15" fmla="*/ 28586 h 48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900" h="482711">
                  <a:moveTo>
                    <a:pt x="372171" y="234374"/>
                  </a:moveTo>
                  <a:cubicBezTo>
                    <a:pt x="372171" y="327994"/>
                    <a:pt x="305100" y="440923"/>
                    <a:pt x="221896" y="440923"/>
                  </a:cubicBezTo>
                  <a:cubicBezTo>
                    <a:pt x="144153" y="440923"/>
                    <a:pt x="80512" y="342094"/>
                    <a:pt x="72509" y="252793"/>
                  </a:cubicBezTo>
                  <a:cubicBezTo>
                    <a:pt x="82671" y="214684"/>
                    <a:pt x="97915" y="135291"/>
                    <a:pt x="138945" y="94133"/>
                  </a:cubicBezTo>
                  <a:cubicBezTo>
                    <a:pt x="178324" y="136815"/>
                    <a:pt x="254669" y="213033"/>
                    <a:pt x="371790" y="213541"/>
                  </a:cubicBezTo>
                  <a:cubicBezTo>
                    <a:pt x="371790" y="220146"/>
                    <a:pt x="371790" y="227133"/>
                    <a:pt x="371790" y="234374"/>
                  </a:cubicBezTo>
                  <a:moveTo>
                    <a:pt x="312214" y="27315"/>
                  </a:moveTo>
                  <a:cubicBezTo>
                    <a:pt x="211860" y="-24258"/>
                    <a:pt x="113793" y="52721"/>
                    <a:pt x="113793" y="52721"/>
                  </a:cubicBezTo>
                  <a:cubicBezTo>
                    <a:pt x="113793" y="52721"/>
                    <a:pt x="483" y="84225"/>
                    <a:pt x="26905" y="219765"/>
                  </a:cubicBezTo>
                  <a:cubicBezTo>
                    <a:pt x="15219" y="228657"/>
                    <a:pt x="7470" y="245171"/>
                    <a:pt x="10010" y="276801"/>
                  </a:cubicBezTo>
                  <a:cubicBezTo>
                    <a:pt x="13440" y="318467"/>
                    <a:pt x="35416" y="336124"/>
                    <a:pt x="58028" y="340316"/>
                  </a:cubicBezTo>
                  <a:cubicBezTo>
                    <a:pt x="88769" y="415391"/>
                    <a:pt x="149616" y="477127"/>
                    <a:pt x="221514" y="477127"/>
                  </a:cubicBezTo>
                  <a:cubicBezTo>
                    <a:pt x="293413" y="477127"/>
                    <a:pt x="354641" y="415136"/>
                    <a:pt x="385382" y="339808"/>
                  </a:cubicBezTo>
                  <a:cubicBezTo>
                    <a:pt x="407105" y="335235"/>
                    <a:pt x="427048" y="317197"/>
                    <a:pt x="430351" y="277437"/>
                  </a:cubicBezTo>
                  <a:cubicBezTo>
                    <a:pt x="433400" y="239328"/>
                    <a:pt x="421840" y="223449"/>
                    <a:pt x="406342" y="216335"/>
                  </a:cubicBezTo>
                  <a:cubicBezTo>
                    <a:pt x="419045" y="127415"/>
                    <a:pt x="377888" y="62249"/>
                    <a:pt x="312214" y="2858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4" name="Frihåndsform: figur 243">
              <a:extLst>
                <a:ext uri="{FF2B5EF4-FFF2-40B4-BE49-F238E27FC236}">
                  <a16:creationId xmlns:a16="http://schemas.microsoft.com/office/drawing/2014/main" id="{2A0F16F1-72BB-4F53-9E83-032CE8E31236}"/>
                </a:ext>
              </a:extLst>
            </p:cNvPr>
            <p:cNvSpPr/>
            <p:nvPr/>
          </p:nvSpPr>
          <p:spPr>
            <a:xfrm>
              <a:off x="2101844" y="2138137"/>
              <a:ext cx="63515" cy="63515"/>
            </a:xfrm>
            <a:custGeom>
              <a:avLst/>
              <a:gdLst>
                <a:gd name="connsiteX0" fmla="*/ 36746 w 63514"/>
                <a:gd name="connsiteY0" fmla="*/ 53429 h 63514"/>
                <a:gd name="connsiteX1" fmla="*/ 10095 w 63514"/>
                <a:gd name="connsiteY1" fmla="*/ 36750 h 63514"/>
                <a:gd name="connsiteX2" fmla="*/ 26786 w 63514"/>
                <a:gd name="connsiteY2" fmla="*/ 10099 h 63514"/>
                <a:gd name="connsiteX3" fmla="*/ 53424 w 63514"/>
                <a:gd name="connsiteY3" fmla="*/ 26778 h 63514"/>
                <a:gd name="connsiteX4" fmla="*/ 53895 w 63514"/>
                <a:gd name="connsiteY4" fmla="*/ 29675 h 63514"/>
                <a:gd name="connsiteX5" fmla="*/ 36746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6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6" y="10099"/>
                  </a:cubicBezTo>
                  <a:cubicBezTo>
                    <a:pt x="38740" y="7343"/>
                    <a:pt x="50681" y="14812"/>
                    <a:pt x="53424" y="26778"/>
                  </a:cubicBezTo>
                  <a:cubicBezTo>
                    <a:pt x="53641" y="27731"/>
                    <a:pt x="53806" y="28696"/>
                    <a:pt x="53895" y="29675"/>
                  </a:cubicBezTo>
                  <a:cubicBezTo>
                    <a:pt x="55648" y="40955"/>
                    <a:pt x="48000" y="51549"/>
                    <a:pt x="36746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5" name="Frihåndsform: figur 244">
              <a:extLst>
                <a:ext uri="{FF2B5EF4-FFF2-40B4-BE49-F238E27FC236}">
                  <a16:creationId xmlns:a16="http://schemas.microsoft.com/office/drawing/2014/main" id="{02429822-18E2-476B-B598-5675CA5F18D7}"/>
                </a:ext>
              </a:extLst>
            </p:cNvPr>
            <p:cNvSpPr/>
            <p:nvPr/>
          </p:nvSpPr>
          <p:spPr>
            <a:xfrm>
              <a:off x="2225063" y="2138137"/>
              <a:ext cx="63515" cy="63515"/>
            </a:xfrm>
            <a:custGeom>
              <a:avLst/>
              <a:gdLst>
                <a:gd name="connsiteX0" fmla="*/ 36746 w 63514"/>
                <a:gd name="connsiteY0" fmla="*/ 53429 h 63514"/>
                <a:gd name="connsiteX1" fmla="*/ 10095 w 63514"/>
                <a:gd name="connsiteY1" fmla="*/ 36750 h 63514"/>
                <a:gd name="connsiteX2" fmla="*/ 26774 w 63514"/>
                <a:gd name="connsiteY2" fmla="*/ 10099 h 63514"/>
                <a:gd name="connsiteX3" fmla="*/ 53425 w 63514"/>
                <a:gd name="connsiteY3" fmla="*/ 26778 h 63514"/>
                <a:gd name="connsiteX4" fmla="*/ 53895 w 63514"/>
                <a:gd name="connsiteY4" fmla="*/ 29675 h 63514"/>
                <a:gd name="connsiteX5" fmla="*/ 36746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6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74" y="10099"/>
                  </a:cubicBezTo>
                  <a:cubicBezTo>
                    <a:pt x="38740" y="7343"/>
                    <a:pt x="50681" y="14812"/>
                    <a:pt x="53425" y="26778"/>
                  </a:cubicBezTo>
                  <a:cubicBezTo>
                    <a:pt x="53641" y="27731"/>
                    <a:pt x="53806" y="28696"/>
                    <a:pt x="53895" y="29675"/>
                  </a:cubicBezTo>
                  <a:cubicBezTo>
                    <a:pt x="55648" y="40955"/>
                    <a:pt x="48000" y="51549"/>
                    <a:pt x="36746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6" name="Frihåndsform: figur 245">
              <a:extLst>
                <a:ext uri="{FF2B5EF4-FFF2-40B4-BE49-F238E27FC236}">
                  <a16:creationId xmlns:a16="http://schemas.microsoft.com/office/drawing/2014/main" id="{3983836E-C929-45F5-AC0D-1ABC4DDE38AB}"/>
                </a:ext>
              </a:extLst>
            </p:cNvPr>
            <p:cNvSpPr/>
            <p:nvPr/>
          </p:nvSpPr>
          <p:spPr>
            <a:xfrm>
              <a:off x="3202588" y="2249364"/>
              <a:ext cx="127029" cy="50812"/>
            </a:xfrm>
            <a:custGeom>
              <a:avLst/>
              <a:gdLst>
                <a:gd name="connsiteX0" fmla="*/ 9527 w 127029"/>
                <a:gd name="connsiteY0" fmla="*/ 9527 h 50811"/>
                <a:gd name="connsiteX1" fmla="*/ 120424 w 127029"/>
                <a:gd name="connsiteY1" fmla="*/ 9527 h 50811"/>
                <a:gd name="connsiteX2" fmla="*/ 9527 w 127029"/>
                <a:gd name="connsiteY2" fmla="*/ 9527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9" h="50811">
                  <a:moveTo>
                    <a:pt x="9527" y="9527"/>
                  </a:moveTo>
                  <a:lnTo>
                    <a:pt x="120424" y="9527"/>
                  </a:lnTo>
                  <a:cubicBezTo>
                    <a:pt x="120424" y="9527"/>
                    <a:pt x="74439" y="96542"/>
                    <a:pt x="9527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7" name="Frihåndsform: figur 246">
              <a:extLst>
                <a:ext uri="{FF2B5EF4-FFF2-40B4-BE49-F238E27FC236}">
                  <a16:creationId xmlns:a16="http://schemas.microsoft.com/office/drawing/2014/main" id="{8E1177C8-945A-46D0-B8ED-58DE3A9A5E9E}"/>
                </a:ext>
              </a:extLst>
            </p:cNvPr>
            <p:cNvSpPr/>
            <p:nvPr/>
          </p:nvSpPr>
          <p:spPr>
            <a:xfrm>
              <a:off x="2941415" y="2385286"/>
              <a:ext cx="647850" cy="342980"/>
            </a:xfrm>
            <a:custGeom>
              <a:avLst/>
              <a:gdLst>
                <a:gd name="connsiteX0" fmla="*/ 494399 w 647850"/>
                <a:gd name="connsiteY0" fmla="*/ 9527 h 342979"/>
                <a:gd name="connsiteX1" fmla="*/ 465183 w 647850"/>
                <a:gd name="connsiteY1" fmla="*/ 11306 h 342979"/>
                <a:gd name="connsiteX2" fmla="*/ 202282 w 647850"/>
                <a:gd name="connsiteY2" fmla="*/ 26981 h 342979"/>
                <a:gd name="connsiteX3" fmla="*/ 186607 w 647850"/>
                <a:gd name="connsiteY3" fmla="*/ 11306 h 342979"/>
                <a:gd name="connsiteX4" fmla="*/ 157644 w 647850"/>
                <a:gd name="connsiteY4" fmla="*/ 9527 h 342979"/>
                <a:gd name="connsiteX5" fmla="*/ 9528 w 647850"/>
                <a:gd name="connsiteY5" fmla="*/ 181525 h 342979"/>
                <a:gd name="connsiteX6" fmla="*/ 9528 w 647850"/>
                <a:gd name="connsiteY6" fmla="*/ 299536 h 342979"/>
                <a:gd name="connsiteX7" fmla="*/ 51066 w 647850"/>
                <a:gd name="connsiteY7" fmla="*/ 341582 h 342979"/>
                <a:gd name="connsiteX8" fmla="*/ 51194 w 647850"/>
                <a:gd name="connsiteY8" fmla="*/ 341582 h 342979"/>
                <a:gd name="connsiteX9" fmla="*/ 600596 w 647850"/>
                <a:gd name="connsiteY9" fmla="*/ 341582 h 342979"/>
                <a:gd name="connsiteX10" fmla="*/ 642770 w 647850"/>
                <a:gd name="connsiteY10" fmla="*/ 299536 h 342979"/>
                <a:gd name="connsiteX11" fmla="*/ 642770 w 647850"/>
                <a:gd name="connsiteY11" fmla="*/ 181525 h 342979"/>
                <a:gd name="connsiteX12" fmla="*/ 494399 w 647850"/>
                <a:gd name="connsiteY12" fmla="*/ 9527 h 34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7850" h="342979">
                  <a:moveTo>
                    <a:pt x="494399" y="9527"/>
                  </a:moveTo>
                  <a:lnTo>
                    <a:pt x="465183" y="11306"/>
                  </a:lnTo>
                  <a:cubicBezTo>
                    <a:pt x="396917" y="88235"/>
                    <a:pt x="279212" y="95247"/>
                    <a:pt x="202282" y="26981"/>
                  </a:cubicBezTo>
                  <a:cubicBezTo>
                    <a:pt x="196757" y="22078"/>
                    <a:pt x="191523" y="16844"/>
                    <a:pt x="186607" y="11306"/>
                  </a:cubicBezTo>
                  <a:lnTo>
                    <a:pt x="157644" y="9527"/>
                  </a:lnTo>
                  <a:cubicBezTo>
                    <a:pt x="70502" y="31376"/>
                    <a:pt x="9528" y="91715"/>
                    <a:pt x="9528" y="181525"/>
                  </a:cubicBezTo>
                  <a:lnTo>
                    <a:pt x="9528" y="299536"/>
                  </a:lnTo>
                  <a:cubicBezTo>
                    <a:pt x="9388" y="322617"/>
                    <a:pt x="27985" y="341443"/>
                    <a:pt x="51066" y="341582"/>
                  </a:cubicBezTo>
                  <a:cubicBezTo>
                    <a:pt x="51105" y="341582"/>
                    <a:pt x="51155" y="341582"/>
                    <a:pt x="51194" y="341582"/>
                  </a:cubicBezTo>
                  <a:lnTo>
                    <a:pt x="600596" y="341582"/>
                  </a:lnTo>
                  <a:cubicBezTo>
                    <a:pt x="623843" y="341582"/>
                    <a:pt x="642694" y="322782"/>
                    <a:pt x="642770" y="299536"/>
                  </a:cubicBezTo>
                  <a:lnTo>
                    <a:pt x="642770" y="181525"/>
                  </a:lnTo>
                  <a:cubicBezTo>
                    <a:pt x="642770" y="91715"/>
                    <a:pt x="581542" y="31376"/>
                    <a:pt x="494399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8" name="Frihåndsform: figur 247">
              <a:extLst>
                <a:ext uri="{FF2B5EF4-FFF2-40B4-BE49-F238E27FC236}">
                  <a16:creationId xmlns:a16="http://schemas.microsoft.com/office/drawing/2014/main" id="{40DDDDDD-A79A-4126-91DA-A4B0BB0B5DA7}"/>
                </a:ext>
              </a:extLst>
            </p:cNvPr>
            <p:cNvSpPr/>
            <p:nvPr/>
          </p:nvSpPr>
          <p:spPr>
            <a:xfrm>
              <a:off x="3047002" y="1911716"/>
              <a:ext cx="431900" cy="482712"/>
            </a:xfrm>
            <a:custGeom>
              <a:avLst/>
              <a:gdLst>
                <a:gd name="connsiteX0" fmla="*/ 372172 w 431900"/>
                <a:gd name="connsiteY0" fmla="*/ 234374 h 482711"/>
                <a:gd name="connsiteX1" fmla="*/ 222023 w 431900"/>
                <a:gd name="connsiteY1" fmla="*/ 440923 h 482711"/>
                <a:gd name="connsiteX2" fmla="*/ 72636 w 431900"/>
                <a:gd name="connsiteY2" fmla="*/ 252793 h 482711"/>
                <a:gd name="connsiteX3" fmla="*/ 138945 w 431900"/>
                <a:gd name="connsiteY3" fmla="*/ 94133 h 482711"/>
                <a:gd name="connsiteX4" fmla="*/ 371790 w 431900"/>
                <a:gd name="connsiteY4" fmla="*/ 213541 h 482711"/>
                <a:gd name="connsiteX5" fmla="*/ 371790 w 431900"/>
                <a:gd name="connsiteY5" fmla="*/ 234374 h 482711"/>
                <a:gd name="connsiteX6" fmla="*/ 312214 w 431900"/>
                <a:gd name="connsiteY6" fmla="*/ 27315 h 482711"/>
                <a:gd name="connsiteX7" fmla="*/ 113921 w 431900"/>
                <a:gd name="connsiteY7" fmla="*/ 52721 h 482711"/>
                <a:gd name="connsiteX8" fmla="*/ 26905 w 431900"/>
                <a:gd name="connsiteY8" fmla="*/ 219765 h 482711"/>
                <a:gd name="connsiteX9" fmla="*/ 10010 w 431900"/>
                <a:gd name="connsiteY9" fmla="*/ 276801 h 482711"/>
                <a:gd name="connsiteX10" fmla="*/ 58027 w 431900"/>
                <a:gd name="connsiteY10" fmla="*/ 340316 h 482711"/>
                <a:gd name="connsiteX11" fmla="*/ 221642 w 431900"/>
                <a:gd name="connsiteY11" fmla="*/ 477127 h 482711"/>
                <a:gd name="connsiteX12" fmla="*/ 385382 w 431900"/>
                <a:gd name="connsiteY12" fmla="*/ 339808 h 482711"/>
                <a:gd name="connsiteX13" fmla="*/ 430351 w 431900"/>
                <a:gd name="connsiteY13" fmla="*/ 277437 h 482711"/>
                <a:gd name="connsiteX14" fmla="*/ 406469 w 431900"/>
                <a:gd name="connsiteY14" fmla="*/ 216335 h 482711"/>
                <a:gd name="connsiteX15" fmla="*/ 312214 w 431900"/>
                <a:gd name="connsiteY15" fmla="*/ 28586 h 48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900" h="482711">
                  <a:moveTo>
                    <a:pt x="372172" y="234374"/>
                  </a:moveTo>
                  <a:cubicBezTo>
                    <a:pt x="372172" y="327994"/>
                    <a:pt x="305227" y="440923"/>
                    <a:pt x="222023" y="440923"/>
                  </a:cubicBezTo>
                  <a:cubicBezTo>
                    <a:pt x="144153" y="440923"/>
                    <a:pt x="80512" y="342094"/>
                    <a:pt x="72636" y="252793"/>
                  </a:cubicBezTo>
                  <a:cubicBezTo>
                    <a:pt x="82671" y="214684"/>
                    <a:pt x="98042" y="135291"/>
                    <a:pt x="138945" y="94133"/>
                  </a:cubicBezTo>
                  <a:cubicBezTo>
                    <a:pt x="178452" y="136815"/>
                    <a:pt x="254796" y="213033"/>
                    <a:pt x="371790" y="213541"/>
                  </a:cubicBezTo>
                  <a:cubicBezTo>
                    <a:pt x="371790" y="220146"/>
                    <a:pt x="371790" y="227133"/>
                    <a:pt x="371790" y="234374"/>
                  </a:cubicBezTo>
                  <a:moveTo>
                    <a:pt x="312214" y="27315"/>
                  </a:moveTo>
                  <a:cubicBezTo>
                    <a:pt x="211987" y="-24258"/>
                    <a:pt x="113921" y="52721"/>
                    <a:pt x="113921" y="52721"/>
                  </a:cubicBezTo>
                  <a:cubicBezTo>
                    <a:pt x="113921" y="52721"/>
                    <a:pt x="610" y="84225"/>
                    <a:pt x="26905" y="219765"/>
                  </a:cubicBezTo>
                  <a:cubicBezTo>
                    <a:pt x="15219" y="228657"/>
                    <a:pt x="7470" y="245171"/>
                    <a:pt x="10010" y="276801"/>
                  </a:cubicBezTo>
                  <a:cubicBezTo>
                    <a:pt x="13440" y="318467"/>
                    <a:pt x="35416" y="336124"/>
                    <a:pt x="58027" y="340316"/>
                  </a:cubicBezTo>
                  <a:cubicBezTo>
                    <a:pt x="88769" y="415391"/>
                    <a:pt x="149616" y="477127"/>
                    <a:pt x="221642" y="477127"/>
                  </a:cubicBezTo>
                  <a:cubicBezTo>
                    <a:pt x="293667" y="477127"/>
                    <a:pt x="354641" y="415136"/>
                    <a:pt x="385382" y="339808"/>
                  </a:cubicBezTo>
                  <a:cubicBezTo>
                    <a:pt x="407105" y="335235"/>
                    <a:pt x="427048" y="317197"/>
                    <a:pt x="430351" y="277437"/>
                  </a:cubicBezTo>
                  <a:cubicBezTo>
                    <a:pt x="433400" y="239328"/>
                    <a:pt x="421840" y="223449"/>
                    <a:pt x="406469" y="216335"/>
                  </a:cubicBezTo>
                  <a:cubicBezTo>
                    <a:pt x="419172" y="127415"/>
                    <a:pt x="377888" y="62249"/>
                    <a:pt x="312214" y="2858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49" name="Frihåndsform: figur 248">
              <a:extLst>
                <a:ext uri="{FF2B5EF4-FFF2-40B4-BE49-F238E27FC236}">
                  <a16:creationId xmlns:a16="http://schemas.microsoft.com/office/drawing/2014/main" id="{1207DD64-E11F-46F0-864B-A37FEB921FAA}"/>
                </a:ext>
              </a:extLst>
            </p:cNvPr>
            <p:cNvSpPr/>
            <p:nvPr/>
          </p:nvSpPr>
          <p:spPr>
            <a:xfrm>
              <a:off x="3171433" y="2138113"/>
              <a:ext cx="63515" cy="63515"/>
            </a:xfrm>
            <a:custGeom>
              <a:avLst/>
              <a:gdLst>
                <a:gd name="connsiteX0" fmla="*/ 36618 w 63514"/>
                <a:gd name="connsiteY0" fmla="*/ 53453 h 63514"/>
                <a:gd name="connsiteX1" fmla="*/ 10069 w 63514"/>
                <a:gd name="connsiteY1" fmla="*/ 36622 h 63514"/>
                <a:gd name="connsiteX2" fmla="*/ 26900 w 63514"/>
                <a:gd name="connsiteY2" fmla="*/ 10072 h 63514"/>
                <a:gd name="connsiteX3" fmla="*/ 53449 w 63514"/>
                <a:gd name="connsiteY3" fmla="*/ 26904 h 63514"/>
                <a:gd name="connsiteX4" fmla="*/ 53894 w 63514"/>
                <a:gd name="connsiteY4" fmla="*/ 29699 h 63514"/>
                <a:gd name="connsiteX5" fmla="*/ 36618 w 63514"/>
                <a:gd name="connsiteY5" fmla="*/ 53453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618" y="53453"/>
                  </a:moveTo>
                  <a:cubicBezTo>
                    <a:pt x="24639" y="56133"/>
                    <a:pt x="12749" y="48601"/>
                    <a:pt x="10069" y="36622"/>
                  </a:cubicBezTo>
                  <a:cubicBezTo>
                    <a:pt x="7388" y="24643"/>
                    <a:pt x="14921" y="12753"/>
                    <a:pt x="26900" y="10072"/>
                  </a:cubicBezTo>
                  <a:cubicBezTo>
                    <a:pt x="38879" y="7379"/>
                    <a:pt x="50769" y="14925"/>
                    <a:pt x="53449" y="26904"/>
                  </a:cubicBezTo>
                  <a:cubicBezTo>
                    <a:pt x="53652" y="27819"/>
                    <a:pt x="53805" y="28758"/>
                    <a:pt x="53894" y="29699"/>
                  </a:cubicBezTo>
                  <a:cubicBezTo>
                    <a:pt x="55647" y="41017"/>
                    <a:pt x="47923" y="51637"/>
                    <a:pt x="36618" y="5345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0" name="Frihåndsform: figur 249">
              <a:extLst>
                <a:ext uri="{FF2B5EF4-FFF2-40B4-BE49-F238E27FC236}">
                  <a16:creationId xmlns:a16="http://schemas.microsoft.com/office/drawing/2014/main" id="{B8B8FFBE-0EE7-4B34-A8CE-2D08C9FD3595}"/>
                </a:ext>
              </a:extLst>
            </p:cNvPr>
            <p:cNvSpPr/>
            <p:nvPr/>
          </p:nvSpPr>
          <p:spPr>
            <a:xfrm>
              <a:off x="3294524" y="2138137"/>
              <a:ext cx="63515" cy="63515"/>
            </a:xfrm>
            <a:custGeom>
              <a:avLst/>
              <a:gdLst>
                <a:gd name="connsiteX0" fmla="*/ 36746 w 63514"/>
                <a:gd name="connsiteY0" fmla="*/ 53429 h 63514"/>
                <a:gd name="connsiteX1" fmla="*/ 10095 w 63514"/>
                <a:gd name="connsiteY1" fmla="*/ 36750 h 63514"/>
                <a:gd name="connsiteX2" fmla="*/ 26786 w 63514"/>
                <a:gd name="connsiteY2" fmla="*/ 10099 h 63514"/>
                <a:gd name="connsiteX3" fmla="*/ 53424 w 63514"/>
                <a:gd name="connsiteY3" fmla="*/ 26778 h 63514"/>
                <a:gd name="connsiteX4" fmla="*/ 53895 w 63514"/>
                <a:gd name="connsiteY4" fmla="*/ 29675 h 63514"/>
                <a:gd name="connsiteX5" fmla="*/ 36746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6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6" y="10099"/>
                  </a:cubicBezTo>
                  <a:cubicBezTo>
                    <a:pt x="38740" y="7343"/>
                    <a:pt x="50681" y="14812"/>
                    <a:pt x="53424" y="26778"/>
                  </a:cubicBezTo>
                  <a:cubicBezTo>
                    <a:pt x="53640" y="27731"/>
                    <a:pt x="53806" y="28696"/>
                    <a:pt x="53895" y="29675"/>
                  </a:cubicBezTo>
                  <a:cubicBezTo>
                    <a:pt x="55648" y="40955"/>
                    <a:pt x="48000" y="51549"/>
                    <a:pt x="36746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1" name="Frihåndsform: figur 250">
              <a:extLst>
                <a:ext uri="{FF2B5EF4-FFF2-40B4-BE49-F238E27FC236}">
                  <a16:creationId xmlns:a16="http://schemas.microsoft.com/office/drawing/2014/main" id="{862D0083-F0A6-4989-B350-496C3110AA34}"/>
                </a:ext>
              </a:extLst>
            </p:cNvPr>
            <p:cNvSpPr/>
            <p:nvPr/>
          </p:nvSpPr>
          <p:spPr>
            <a:xfrm>
              <a:off x="4272050" y="2249364"/>
              <a:ext cx="127029" cy="50812"/>
            </a:xfrm>
            <a:custGeom>
              <a:avLst/>
              <a:gdLst>
                <a:gd name="connsiteX0" fmla="*/ 9527 w 127029"/>
                <a:gd name="connsiteY0" fmla="*/ 9527 h 50811"/>
                <a:gd name="connsiteX1" fmla="*/ 120551 w 127029"/>
                <a:gd name="connsiteY1" fmla="*/ 9527 h 50811"/>
                <a:gd name="connsiteX2" fmla="*/ 9527 w 127029"/>
                <a:gd name="connsiteY2" fmla="*/ 9527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9" h="50811">
                  <a:moveTo>
                    <a:pt x="9527" y="9527"/>
                  </a:moveTo>
                  <a:lnTo>
                    <a:pt x="120551" y="9527"/>
                  </a:lnTo>
                  <a:cubicBezTo>
                    <a:pt x="120551" y="9527"/>
                    <a:pt x="74439" y="96542"/>
                    <a:pt x="9527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2" name="Frihåndsform: figur 251">
              <a:extLst>
                <a:ext uri="{FF2B5EF4-FFF2-40B4-BE49-F238E27FC236}">
                  <a16:creationId xmlns:a16="http://schemas.microsoft.com/office/drawing/2014/main" id="{28C9E0F1-6B71-4785-B1FA-5A1B7B004662}"/>
                </a:ext>
              </a:extLst>
            </p:cNvPr>
            <p:cNvSpPr/>
            <p:nvPr/>
          </p:nvSpPr>
          <p:spPr>
            <a:xfrm>
              <a:off x="4010876" y="2385286"/>
              <a:ext cx="647850" cy="342980"/>
            </a:xfrm>
            <a:custGeom>
              <a:avLst/>
              <a:gdLst>
                <a:gd name="connsiteX0" fmla="*/ 494399 w 647850"/>
                <a:gd name="connsiteY0" fmla="*/ 9527 h 342979"/>
                <a:gd name="connsiteX1" fmla="*/ 465183 w 647850"/>
                <a:gd name="connsiteY1" fmla="*/ 11306 h 342979"/>
                <a:gd name="connsiteX2" fmla="*/ 202282 w 647850"/>
                <a:gd name="connsiteY2" fmla="*/ 26981 h 342979"/>
                <a:gd name="connsiteX3" fmla="*/ 186607 w 647850"/>
                <a:gd name="connsiteY3" fmla="*/ 11306 h 342979"/>
                <a:gd name="connsiteX4" fmla="*/ 157644 w 647850"/>
                <a:gd name="connsiteY4" fmla="*/ 9527 h 342979"/>
                <a:gd name="connsiteX5" fmla="*/ 9528 w 647850"/>
                <a:gd name="connsiteY5" fmla="*/ 181525 h 342979"/>
                <a:gd name="connsiteX6" fmla="*/ 9528 w 647850"/>
                <a:gd name="connsiteY6" fmla="*/ 299536 h 342979"/>
                <a:gd name="connsiteX7" fmla="*/ 51066 w 647850"/>
                <a:gd name="connsiteY7" fmla="*/ 341582 h 342979"/>
                <a:gd name="connsiteX8" fmla="*/ 51194 w 647850"/>
                <a:gd name="connsiteY8" fmla="*/ 341582 h 342979"/>
                <a:gd name="connsiteX9" fmla="*/ 600596 w 647850"/>
                <a:gd name="connsiteY9" fmla="*/ 341582 h 342979"/>
                <a:gd name="connsiteX10" fmla="*/ 642770 w 647850"/>
                <a:gd name="connsiteY10" fmla="*/ 299536 h 342979"/>
                <a:gd name="connsiteX11" fmla="*/ 642770 w 647850"/>
                <a:gd name="connsiteY11" fmla="*/ 181525 h 342979"/>
                <a:gd name="connsiteX12" fmla="*/ 494399 w 647850"/>
                <a:gd name="connsiteY12" fmla="*/ 9527 h 34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7850" h="342979">
                  <a:moveTo>
                    <a:pt x="494399" y="9527"/>
                  </a:moveTo>
                  <a:lnTo>
                    <a:pt x="465183" y="11306"/>
                  </a:lnTo>
                  <a:cubicBezTo>
                    <a:pt x="396917" y="88235"/>
                    <a:pt x="279211" y="95247"/>
                    <a:pt x="202282" y="26981"/>
                  </a:cubicBezTo>
                  <a:cubicBezTo>
                    <a:pt x="196757" y="22078"/>
                    <a:pt x="191523" y="16844"/>
                    <a:pt x="186607" y="11306"/>
                  </a:cubicBezTo>
                  <a:lnTo>
                    <a:pt x="157644" y="9527"/>
                  </a:lnTo>
                  <a:cubicBezTo>
                    <a:pt x="70502" y="31376"/>
                    <a:pt x="9528" y="91715"/>
                    <a:pt x="9528" y="181525"/>
                  </a:cubicBezTo>
                  <a:lnTo>
                    <a:pt x="9528" y="299536"/>
                  </a:lnTo>
                  <a:cubicBezTo>
                    <a:pt x="9388" y="322617"/>
                    <a:pt x="27985" y="341443"/>
                    <a:pt x="51066" y="341582"/>
                  </a:cubicBezTo>
                  <a:cubicBezTo>
                    <a:pt x="51105" y="341582"/>
                    <a:pt x="51155" y="341582"/>
                    <a:pt x="51194" y="341582"/>
                  </a:cubicBezTo>
                  <a:lnTo>
                    <a:pt x="600596" y="341582"/>
                  </a:lnTo>
                  <a:cubicBezTo>
                    <a:pt x="623842" y="341582"/>
                    <a:pt x="642694" y="322782"/>
                    <a:pt x="642770" y="299536"/>
                  </a:cubicBezTo>
                  <a:lnTo>
                    <a:pt x="642770" y="181525"/>
                  </a:lnTo>
                  <a:cubicBezTo>
                    <a:pt x="642770" y="91715"/>
                    <a:pt x="581542" y="31376"/>
                    <a:pt x="494399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3" name="Frihåndsform: figur 252">
              <a:extLst>
                <a:ext uri="{FF2B5EF4-FFF2-40B4-BE49-F238E27FC236}">
                  <a16:creationId xmlns:a16="http://schemas.microsoft.com/office/drawing/2014/main" id="{740CF7E1-D904-4491-8398-367C085D469D}"/>
                </a:ext>
              </a:extLst>
            </p:cNvPr>
            <p:cNvSpPr/>
            <p:nvPr/>
          </p:nvSpPr>
          <p:spPr>
            <a:xfrm>
              <a:off x="4116547" y="1911716"/>
              <a:ext cx="431900" cy="482712"/>
            </a:xfrm>
            <a:custGeom>
              <a:avLst/>
              <a:gdLst>
                <a:gd name="connsiteX0" fmla="*/ 372088 w 431900"/>
                <a:gd name="connsiteY0" fmla="*/ 234374 h 482711"/>
                <a:gd name="connsiteX1" fmla="*/ 221939 w 431900"/>
                <a:gd name="connsiteY1" fmla="*/ 440923 h 482711"/>
                <a:gd name="connsiteX2" fmla="*/ 72553 w 431900"/>
                <a:gd name="connsiteY2" fmla="*/ 252793 h 482711"/>
                <a:gd name="connsiteX3" fmla="*/ 138862 w 431900"/>
                <a:gd name="connsiteY3" fmla="*/ 94133 h 482711"/>
                <a:gd name="connsiteX4" fmla="*/ 371707 w 431900"/>
                <a:gd name="connsiteY4" fmla="*/ 213541 h 482711"/>
                <a:gd name="connsiteX5" fmla="*/ 371707 w 431900"/>
                <a:gd name="connsiteY5" fmla="*/ 234374 h 482711"/>
                <a:gd name="connsiteX6" fmla="*/ 312130 w 431900"/>
                <a:gd name="connsiteY6" fmla="*/ 27315 h 482711"/>
                <a:gd name="connsiteX7" fmla="*/ 113837 w 431900"/>
                <a:gd name="connsiteY7" fmla="*/ 52721 h 482711"/>
                <a:gd name="connsiteX8" fmla="*/ 26822 w 431900"/>
                <a:gd name="connsiteY8" fmla="*/ 219765 h 482711"/>
                <a:gd name="connsiteX9" fmla="*/ 10054 w 431900"/>
                <a:gd name="connsiteY9" fmla="*/ 276801 h 482711"/>
                <a:gd name="connsiteX10" fmla="*/ 57944 w 431900"/>
                <a:gd name="connsiteY10" fmla="*/ 340316 h 482711"/>
                <a:gd name="connsiteX11" fmla="*/ 221558 w 431900"/>
                <a:gd name="connsiteY11" fmla="*/ 477127 h 482711"/>
                <a:gd name="connsiteX12" fmla="*/ 385299 w 431900"/>
                <a:gd name="connsiteY12" fmla="*/ 339808 h 482711"/>
                <a:gd name="connsiteX13" fmla="*/ 430268 w 431900"/>
                <a:gd name="connsiteY13" fmla="*/ 277437 h 482711"/>
                <a:gd name="connsiteX14" fmla="*/ 406386 w 431900"/>
                <a:gd name="connsiteY14" fmla="*/ 216335 h 482711"/>
                <a:gd name="connsiteX15" fmla="*/ 312130 w 431900"/>
                <a:gd name="connsiteY15" fmla="*/ 28586 h 48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900" h="482711">
                  <a:moveTo>
                    <a:pt x="372088" y="234374"/>
                  </a:moveTo>
                  <a:cubicBezTo>
                    <a:pt x="372088" y="327994"/>
                    <a:pt x="305144" y="440923"/>
                    <a:pt x="221939" y="440923"/>
                  </a:cubicBezTo>
                  <a:cubicBezTo>
                    <a:pt x="144070" y="440923"/>
                    <a:pt x="80428" y="342094"/>
                    <a:pt x="72553" y="252793"/>
                  </a:cubicBezTo>
                  <a:cubicBezTo>
                    <a:pt x="82588" y="214684"/>
                    <a:pt x="97959" y="135291"/>
                    <a:pt x="138862" y="94133"/>
                  </a:cubicBezTo>
                  <a:cubicBezTo>
                    <a:pt x="178368" y="136815"/>
                    <a:pt x="254713" y="213033"/>
                    <a:pt x="371707" y="213541"/>
                  </a:cubicBezTo>
                  <a:cubicBezTo>
                    <a:pt x="371707" y="220146"/>
                    <a:pt x="371707" y="227133"/>
                    <a:pt x="371707" y="234374"/>
                  </a:cubicBezTo>
                  <a:moveTo>
                    <a:pt x="312130" y="27315"/>
                  </a:moveTo>
                  <a:cubicBezTo>
                    <a:pt x="211904" y="-24258"/>
                    <a:pt x="113837" y="52721"/>
                    <a:pt x="113837" y="52721"/>
                  </a:cubicBezTo>
                  <a:cubicBezTo>
                    <a:pt x="113837" y="52721"/>
                    <a:pt x="527" y="84225"/>
                    <a:pt x="26822" y="219765"/>
                  </a:cubicBezTo>
                  <a:cubicBezTo>
                    <a:pt x="15135" y="228657"/>
                    <a:pt x="7387" y="245171"/>
                    <a:pt x="10054" y="276801"/>
                  </a:cubicBezTo>
                  <a:cubicBezTo>
                    <a:pt x="13484" y="318467"/>
                    <a:pt x="35460" y="336124"/>
                    <a:pt x="57944" y="340316"/>
                  </a:cubicBezTo>
                  <a:cubicBezTo>
                    <a:pt x="88685" y="415391"/>
                    <a:pt x="149533" y="477127"/>
                    <a:pt x="221558" y="477127"/>
                  </a:cubicBezTo>
                  <a:cubicBezTo>
                    <a:pt x="293584" y="477127"/>
                    <a:pt x="354558" y="415136"/>
                    <a:pt x="385299" y="339808"/>
                  </a:cubicBezTo>
                  <a:cubicBezTo>
                    <a:pt x="407021" y="335235"/>
                    <a:pt x="426965" y="317197"/>
                    <a:pt x="430268" y="277437"/>
                  </a:cubicBezTo>
                  <a:cubicBezTo>
                    <a:pt x="433316" y="239328"/>
                    <a:pt x="421757" y="223449"/>
                    <a:pt x="406386" y="216335"/>
                  </a:cubicBezTo>
                  <a:cubicBezTo>
                    <a:pt x="419089" y="127415"/>
                    <a:pt x="377805" y="62249"/>
                    <a:pt x="312130" y="2858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4" name="Frihåndsform: figur 253">
              <a:extLst>
                <a:ext uri="{FF2B5EF4-FFF2-40B4-BE49-F238E27FC236}">
                  <a16:creationId xmlns:a16="http://schemas.microsoft.com/office/drawing/2014/main" id="{53A6C536-049E-4633-AD80-04607BD32E4D}"/>
                </a:ext>
              </a:extLst>
            </p:cNvPr>
            <p:cNvSpPr/>
            <p:nvPr/>
          </p:nvSpPr>
          <p:spPr>
            <a:xfrm>
              <a:off x="4240893" y="2138137"/>
              <a:ext cx="63515" cy="63515"/>
            </a:xfrm>
            <a:custGeom>
              <a:avLst/>
              <a:gdLst>
                <a:gd name="connsiteX0" fmla="*/ 36746 w 63514"/>
                <a:gd name="connsiteY0" fmla="*/ 53429 h 63514"/>
                <a:gd name="connsiteX1" fmla="*/ 10095 w 63514"/>
                <a:gd name="connsiteY1" fmla="*/ 36750 h 63514"/>
                <a:gd name="connsiteX2" fmla="*/ 26787 w 63514"/>
                <a:gd name="connsiteY2" fmla="*/ 10099 h 63514"/>
                <a:gd name="connsiteX3" fmla="*/ 53425 w 63514"/>
                <a:gd name="connsiteY3" fmla="*/ 26778 h 63514"/>
                <a:gd name="connsiteX4" fmla="*/ 53895 w 63514"/>
                <a:gd name="connsiteY4" fmla="*/ 29675 h 63514"/>
                <a:gd name="connsiteX5" fmla="*/ 36746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6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7" y="10099"/>
                  </a:cubicBezTo>
                  <a:cubicBezTo>
                    <a:pt x="38740" y="7343"/>
                    <a:pt x="50681" y="14812"/>
                    <a:pt x="53425" y="26778"/>
                  </a:cubicBezTo>
                  <a:cubicBezTo>
                    <a:pt x="53640" y="27731"/>
                    <a:pt x="53806" y="28696"/>
                    <a:pt x="53895" y="29675"/>
                  </a:cubicBezTo>
                  <a:cubicBezTo>
                    <a:pt x="55584" y="40942"/>
                    <a:pt x="47962" y="51486"/>
                    <a:pt x="36746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5" name="Frihåndsform: figur 254">
              <a:extLst>
                <a:ext uri="{FF2B5EF4-FFF2-40B4-BE49-F238E27FC236}">
                  <a16:creationId xmlns:a16="http://schemas.microsoft.com/office/drawing/2014/main" id="{D48BBA76-F0C4-47E4-9AA7-27F063F55825}"/>
                </a:ext>
              </a:extLst>
            </p:cNvPr>
            <p:cNvSpPr/>
            <p:nvPr/>
          </p:nvSpPr>
          <p:spPr>
            <a:xfrm>
              <a:off x="4363985" y="2138137"/>
              <a:ext cx="63515" cy="63515"/>
            </a:xfrm>
            <a:custGeom>
              <a:avLst/>
              <a:gdLst>
                <a:gd name="connsiteX0" fmla="*/ 36746 w 63514"/>
                <a:gd name="connsiteY0" fmla="*/ 53429 h 63514"/>
                <a:gd name="connsiteX1" fmla="*/ 10095 w 63514"/>
                <a:gd name="connsiteY1" fmla="*/ 36750 h 63514"/>
                <a:gd name="connsiteX2" fmla="*/ 26787 w 63514"/>
                <a:gd name="connsiteY2" fmla="*/ 10099 h 63514"/>
                <a:gd name="connsiteX3" fmla="*/ 53425 w 63514"/>
                <a:gd name="connsiteY3" fmla="*/ 26778 h 63514"/>
                <a:gd name="connsiteX4" fmla="*/ 53894 w 63514"/>
                <a:gd name="connsiteY4" fmla="*/ 29675 h 63514"/>
                <a:gd name="connsiteX5" fmla="*/ 36746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6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7" y="10099"/>
                  </a:cubicBezTo>
                  <a:cubicBezTo>
                    <a:pt x="38740" y="7343"/>
                    <a:pt x="50681" y="14812"/>
                    <a:pt x="53425" y="26778"/>
                  </a:cubicBezTo>
                  <a:cubicBezTo>
                    <a:pt x="53640" y="27731"/>
                    <a:pt x="53806" y="28696"/>
                    <a:pt x="53894" y="29675"/>
                  </a:cubicBezTo>
                  <a:cubicBezTo>
                    <a:pt x="55647" y="40955"/>
                    <a:pt x="48000" y="51549"/>
                    <a:pt x="36746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6" name="Frihåndsform: figur 255">
              <a:extLst>
                <a:ext uri="{FF2B5EF4-FFF2-40B4-BE49-F238E27FC236}">
                  <a16:creationId xmlns:a16="http://schemas.microsoft.com/office/drawing/2014/main" id="{BA67E2EA-F75C-4DF3-908F-C53E12B223FF}"/>
                </a:ext>
              </a:extLst>
            </p:cNvPr>
            <p:cNvSpPr/>
            <p:nvPr/>
          </p:nvSpPr>
          <p:spPr>
            <a:xfrm>
              <a:off x="5341511" y="2249364"/>
              <a:ext cx="127029" cy="50812"/>
            </a:xfrm>
            <a:custGeom>
              <a:avLst/>
              <a:gdLst>
                <a:gd name="connsiteX0" fmla="*/ 9527 w 127029"/>
                <a:gd name="connsiteY0" fmla="*/ 9527 h 50811"/>
                <a:gd name="connsiteX1" fmla="*/ 120551 w 127029"/>
                <a:gd name="connsiteY1" fmla="*/ 9527 h 50811"/>
                <a:gd name="connsiteX2" fmla="*/ 9527 w 127029"/>
                <a:gd name="connsiteY2" fmla="*/ 9527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9" h="50811">
                  <a:moveTo>
                    <a:pt x="9527" y="9527"/>
                  </a:moveTo>
                  <a:lnTo>
                    <a:pt x="120551" y="9527"/>
                  </a:lnTo>
                  <a:cubicBezTo>
                    <a:pt x="120551" y="9527"/>
                    <a:pt x="74439" y="96542"/>
                    <a:pt x="9527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7" name="Frihåndsform: figur 256">
              <a:extLst>
                <a:ext uri="{FF2B5EF4-FFF2-40B4-BE49-F238E27FC236}">
                  <a16:creationId xmlns:a16="http://schemas.microsoft.com/office/drawing/2014/main" id="{866155F0-318B-45E5-A974-E802135EDE7E}"/>
                </a:ext>
              </a:extLst>
            </p:cNvPr>
            <p:cNvSpPr/>
            <p:nvPr/>
          </p:nvSpPr>
          <p:spPr>
            <a:xfrm>
              <a:off x="5080464" y="2385286"/>
              <a:ext cx="647850" cy="342980"/>
            </a:xfrm>
            <a:custGeom>
              <a:avLst/>
              <a:gdLst>
                <a:gd name="connsiteX0" fmla="*/ 494400 w 647850"/>
                <a:gd name="connsiteY0" fmla="*/ 9527 h 342979"/>
                <a:gd name="connsiteX1" fmla="*/ 465056 w 647850"/>
                <a:gd name="connsiteY1" fmla="*/ 11306 h 342979"/>
                <a:gd name="connsiteX2" fmla="*/ 202155 w 647850"/>
                <a:gd name="connsiteY2" fmla="*/ 26981 h 342979"/>
                <a:gd name="connsiteX3" fmla="*/ 186480 w 647850"/>
                <a:gd name="connsiteY3" fmla="*/ 11306 h 342979"/>
                <a:gd name="connsiteX4" fmla="*/ 157518 w 647850"/>
                <a:gd name="connsiteY4" fmla="*/ 9527 h 342979"/>
                <a:gd name="connsiteX5" fmla="*/ 9528 w 647850"/>
                <a:gd name="connsiteY5" fmla="*/ 181525 h 342979"/>
                <a:gd name="connsiteX6" fmla="*/ 9528 w 647850"/>
                <a:gd name="connsiteY6" fmla="*/ 299536 h 342979"/>
                <a:gd name="connsiteX7" fmla="*/ 51067 w 647850"/>
                <a:gd name="connsiteY7" fmla="*/ 341582 h 342979"/>
                <a:gd name="connsiteX8" fmla="*/ 51067 w 647850"/>
                <a:gd name="connsiteY8" fmla="*/ 341582 h 342979"/>
                <a:gd name="connsiteX9" fmla="*/ 600469 w 647850"/>
                <a:gd name="connsiteY9" fmla="*/ 341582 h 342979"/>
                <a:gd name="connsiteX10" fmla="*/ 642643 w 647850"/>
                <a:gd name="connsiteY10" fmla="*/ 299536 h 342979"/>
                <a:gd name="connsiteX11" fmla="*/ 642643 w 647850"/>
                <a:gd name="connsiteY11" fmla="*/ 181525 h 342979"/>
                <a:gd name="connsiteX12" fmla="*/ 494400 w 647850"/>
                <a:gd name="connsiteY12" fmla="*/ 9527 h 34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7850" h="342979">
                  <a:moveTo>
                    <a:pt x="494400" y="9527"/>
                  </a:moveTo>
                  <a:lnTo>
                    <a:pt x="465056" y="11306"/>
                  </a:lnTo>
                  <a:cubicBezTo>
                    <a:pt x="396790" y="88235"/>
                    <a:pt x="279085" y="95247"/>
                    <a:pt x="202155" y="26981"/>
                  </a:cubicBezTo>
                  <a:cubicBezTo>
                    <a:pt x="196630" y="22078"/>
                    <a:pt x="191396" y="16844"/>
                    <a:pt x="186480" y="11306"/>
                  </a:cubicBezTo>
                  <a:lnTo>
                    <a:pt x="157518" y="9527"/>
                  </a:lnTo>
                  <a:cubicBezTo>
                    <a:pt x="70375" y="31376"/>
                    <a:pt x="9528" y="91715"/>
                    <a:pt x="9528" y="181525"/>
                  </a:cubicBezTo>
                  <a:lnTo>
                    <a:pt x="9528" y="299536"/>
                  </a:lnTo>
                  <a:cubicBezTo>
                    <a:pt x="9388" y="322617"/>
                    <a:pt x="27985" y="341443"/>
                    <a:pt x="51067" y="341582"/>
                  </a:cubicBezTo>
                  <a:cubicBezTo>
                    <a:pt x="51067" y="341582"/>
                    <a:pt x="51067" y="341582"/>
                    <a:pt x="51067" y="341582"/>
                  </a:cubicBezTo>
                  <a:lnTo>
                    <a:pt x="600469" y="341582"/>
                  </a:lnTo>
                  <a:cubicBezTo>
                    <a:pt x="623716" y="341582"/>
                    <a:pt x="642567" y="322782"/>
                    <a:pt x="642643" y="299536"/>
                  </a:cubicBezTo>
                  <a:lnTo>
                    <a:pt x="642643" y="181525"/>
                  </a:lnTo>
                  <a:cubicBezTo>
                    <a:pt x="642643" y="91715"/>
                    <a:pt x="581542" y="31376"/>
                    <a:pt x="494400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8" name="Frihåndsform: figur 257">
              <a:extLst>
                <a:ext uri="{FF2B5EF4-FFF2-40B4-BE49-F238E27FC236}">
                  <a16:creationId xmlns:a16="http://schemas.microsoft.com/office/drawing/2014/main" id="{B0B43587-2051-4589-A268-4848271044AF}"/>
                </a:ext>
              </a:extLst>
            </p:cNvPr>
            <p:cNvSpPr/>
            <p:nvPr/>
          </p:nvSpPr>
          <p:spPr>
            <a:xfrm>
              <a:off x="5186008" y="1911716"/>
              <a:ext cx="431900" cy="482712"/>
            </a:xfrm>
            <a:custGeom>
              <a:avLst/>
              <a:gdLst>
                <a:gd name="connsiteX0" fmla="*/ 372088 w 431900"/>
                <a:gd name="connsiteY0" fmla="*/ 234374 h 482711"/>
                <a:gd name="connsiteX1" fmla="*/ 221939 w 431900"/>
                <a:gd name="connsiteY1" fmla="*/ 440923 h 482711"/>
                <a:gd name="connsiteX2" fmla="*/ 72552 w 431900"/>
                <a:gd name="connsiteY2" fmla="*/ 252793 h 482711"/>
                <a:gd name="connsiteX3" fmla="*/ 138862 w 431900"/>
                <a:gd name="connsiteY3" fmla="*/ 94133 h 482711"/>
                <a:gd name="connsiteX4" fmla="*/ 371707 w 431900"/>
                <a:gd name="connsiteY4" fmla="*/ 213541 h 482711"/>
                <a:gd name="connsiteX5" fmla="*/ 371707 w 431900"/>
                <a:gd name="connsiteY5" fmla="*/ 234374 h 482711"/>
                <a:gd name="connsiteX6" fmla="*/ 312130 w 431900"/>
                <a:gd name="connsiteY6" fmla="*/ 27315 h 482711"/>
                <a:gd name="connsiteX7" fmla="*/ 113837 w 431900"/>
                <a:gd name="connsiteY7" fmla="*/ 52721 h 482711"/>
                <a:gd name="connsiteX8" fmla="*/ 26949 w 431900"/>
                <a:gd name="connsiteY8" fmla="*/ 219765 h 482711"/>
                <a:gd name="connsiteX9" fmla="*/ 10054 w 431900"/>
                <a:gd name="connsiteY9" fmla="*/ 276801 h 482711"/>
                <a:gd name="connsiteX10" fmla="*/ 57944 w 431900"/>
                <a:gd name="connsiteY10" fmla="*/ 340316 h 482711"/>
                <a:gd name="connsiteX11" fmla="*/ 221558 w 431900"/>
                <a:gd name="connsiteY11" fmla="*/ 477127 h 482711"/>
                <a:gd name="connsiteX12" fmla="*/ 385299 w 431900"/>
                <a:gd name="connsiteY12" fmla="*/ 339808 h 482711"/>
                <a:gd name="connsiteX13" fmla="*/ 430267 w 431900"/>
                <a:gd name="connsiteY13" fmla="*/ 277437 h 482711"/>
                <a:gd name="connsiteX14" fmla="*/ 406386 w 431900"/>
                <a:gd name="connsiteY14" fmla="*/ 216335 h 482711"/>
                <a:gd name="connsiteX15" fmla="*/ 312130 w 431900"/>
                <a:gd name="connsiteY15" fmla="*/ 28586 h 48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900" h="482711">
                  <a:moveTo>
                    <a:pt x="372088" y="234374"/>
                  </a:moveTo>
                  <a:cubicBezTo>
                    <a:pt x="372088" y="327994"/>
                    <a:pt x="305143" y="440923"/>
                    <a:pt x="221939" y="440923"/>
                  </a:cubicBezTo>
                  <a:cubicBezTo>
                    <a:pt x="144070" y="440923"/>
                    <a:pt x="80428" y="342094"/>
                    <a:pt x="72552" y="252793"/>
                  </a:cubicBezTo>
                  <a:cubicBezTo>
                    <a:pt x="82587" y="214684"/>
                    <a:pt x="97958" y="135291"/>
                    <a:pt x="138862" y="94133"/>
                  </a:cubicBezTo>
                  <a:cubicBezTo>
                    <a:pt x="178368" y="136815"/>
                    <a:pt x="254713" y="213033"/>
                    <a:pt x="371707" y="213541"/>
                  </a:cubicBezTo>
                  <a:cubicBezTo>
                    <a:pt x="371707" y="220146"/>
                    <a:pt x="371707" y="227133"/>
                    <a:pt x="371707" y="234374"/>
                  </a:cubicBezTo>
                  <a:moveTo>
                    <a:pt x="312130" y="27315"/>
                  </a:moveTo>
                  <a:cubicBezTo>
                    <a:pt x="211904" y="-24258"/>
                    <a:pt x="113837" y="52721"/>
                    <a:pt x="113837" y="52721"/>
                  </a:cubicBezTo>
                  <a:cubicBezTo>
                    <a:pt x="113837" y="52721"/>
                    <a:pt x="527" y="84225"/>
                    <a:pt x="26949" y="219765"/>
                  </a:cubicBezTo>
                  <a:cubicBezTo>
                    <a:pt x="15135" y="228657"/>
                    <a:pt x="7386" y="245171"/>
                    <a:pt x="10054" y="276801"/>
                  </a:cubicBezTo>
                  <a:cubicBezTo>
                    <a:pt x="13484" y="318467"/>
                    <a:pt x="35460" y="336124"/>
                    <a:pt x="57944" y="340316"/>
                  </a:cubicBezTo>
                  <a:cubicBezTo>
                    <a:pt x="88812" y="415391"/>
                    <a:pt x="149532" y="477127"/>
                    <a:pt x="221558" y="477127"/>
                  </a:cubicBezTo>
                  <a:cubicBezTo>
                    <a:pt x="293584" y="477127"/>
                    <a:pt x="354558" y="415136"/>
                    <a:pt x="385299" y="339808"/>
                  </a:cubicBezTo>
                  <a:cubicBezTo>
                    <a:pt x="407021" y="335235"/>
                    <a:pt x="427092" y="317197"/>
                    <a:pt x="430267" y="277437"/>
                  </a:cubicBezTo>
                  <a:cubicBezTo>
                    <a:pt x="433443" y="239328"/>
                    <a:pt x="421883" y="223449"/>
                    <a:pt x="406386" y="216335"/>
                  </a:cubicBezTo>
                  <a:cubicBezTo>
                    <a:pt x="419089" y="127415"/>
                    <a:pt x="377931" y="62249"/>
                    <a:pt x="312130" y="2858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59" name="Frihåndsform: figur 258">
              <a:extLst>
                <a:ext uri="{FF2B5EF4-FFF2-40B4-BE49-F238E27FC236}">
                  <a16:creationId xmlns:a16="http://schemas.microsoft.com/office/drawing/2014/main" id="{818FB4A3-C017-4597-BBC7-CDDE7A829904}"/>
                </a:ext>
              </a:extLst>
            </p:cNvPr>
            <p:cNvSpPr/>
            <p:nvPr/>
          </p:nvSpPr>
          <p:spPr>
            <a:xfrm>
              <a:off x="5310227" y="2138137"/>
              <a:ext cx="63515" cy="63515"/>
            </a:xfrm>
            <a:custGeom>
              <a:avLst/>
              <a:gdLst>
                <a:gd name="connsiteX0" fmla="*/ 36745 w 63514"/>
                <a:gd name="connsiteY0" fmla="*/ 53429 h 63514"/>
                <a:gd name="connsiteX1" fmla="*/ 10095 w 63514"/>
                <a:gd name="connsiteY1" fmla="*/ 36750 h 63514"/>
                <a:gd name="connsiteX2" fmla="*/ 26786 w 63514"/>
                <a:gd name="connsiteY2" fmla="*/ 10099 h 63514"/>
                <a:gd name="connsiteX3" fmla="*/ 53424 w 63514"/>
                <a:gd name="connsiteY3" fmla="*/ 26778 h 63514"/>
                <a:gd name="connsiteX4" fmla="*/ 53895 w 63514"/>
                <a:gd name="connsiteY4" fmla="*/ 29675 h 63514"/>
                <a:gd name="connsiteX5" fmla="*/ 36745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5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6" y="10099"/>
                  </a:cubicBezTo>
                  <a:cubicBezTo>
                    <a:pt x="38740" y="7343"/>
                    <a:pt x="50680" y="14812"/>
                    <a:pt x="53424" y="26778"/>
                  </a:cubicBezTo>
                  <a:cubicBezTo>
                    <a:pt x="53640" y="27731"/>
                    <a:pt x="53805" y="28696"/>
                    <a:pt x="53895" y="29675"/>
                  </a:cubicBezTo>
                  <a:cubicBezTo>
                    <a:pt x="55648" y="40955"/>
                    <a:pt x="48000" y="51549"/>
                    <a:pt x="36745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0" name="Frihåndsform: figur 259">
              <a:extLst>
                <a:ext uri="{FF2B5EF4-FFF2-40B4-BE49-F238E27FC236}">
                  <a16:creationId xmlns:a16="http://schemas.microsoft.com/office/drawing/2014/main" id="{1770AA17-B312-4ACB-8174-E64433271CC1}"/>
                </a:ext>
              </a:extLst>
            </p:cNvPr>
            <p:cNvSpPr/>
            <p:nvPr/>
          </p:nvSpPr>
          <p:spPr>
            <a:xfrm>
              <a:off x="5433573" y="2138137"/>
              <a:ext cx="63515" cy="63515"/>
            </a:xfrm>
            <a:custGeom>
              <a:avLst/>
              <a:gdLst>
                <a:gd name="connsiteX0" fmla="*/ 36745 w 63514"/>
                <a:gd name="connsiteY0" fmla="*/ 53429 h 63514"/>
                <a:gd name="connsiteX1" fmla="*/ 10095 w 63514"/>
                <a:gd name="connsiteY1" fmla="*/ 36750 h 63514"/>
                <a:gd name="connsiteX2" fmla="*/ 26786 w 63514"/>
                <a:gd name="connsiteY2" fmla="*/ 10099 h 63514"/>
                <a:gd name="connsiteX3" fmla="*/ 53425 w 63514"/>
                <a:gd name="connsiteY3" fmla="*/ 26778 h 63514"/>
                <a:gd name="connsiteX4" fmla="*/ 53895 w 63514"/>
                <a:gd name="connsiteY4" fmla="*/ 29675 h 63514"/>
                <a:gd name="connsiteX5" fmla="*/ 36745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5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6" y="10099"/>
                  </a:cubicBezTo>
                  <a:cubicBezTo>
                    <a:pt x="38740" y="7343"/>
                    <a:pt x="50681" y="14812"/>
                    <a:pt x="53425" y="26778"/>
                  </a:cubicBezTo>
                  <a:cubicBezTo>
                    <a:pt x="53641" y="27731"/>
                    <a:pt x="53806" y="28696"/>
                    <a:pt x="53895" y="29675"/>
                  </a:cubicBezTo>
                  <a:cubicBezTo>
                    <a:pt x="55584" y="40942"/>
                    <a:pt x="47962" y="51486"/>
                    <a:pt x="36745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1" name="Frihåndsform: figur 260">
              <a:extLst>
                <a:ext uri="{FF2B5EF4-FFF2-40B4-BE49-F238E27FC236}">
                  <a16:creationId xmlns:a16="http://schemas.microsoft.com/office/drawing/2014/main" id="{495036B0-FE2F-490F-A464-152473E0725C}"/>
                </a:ext>
              </a:extLst>
            </p:cNvPr>
            <p:cNvSpPr/>
            <p:nvPr/>
          </p:nvSpPr>
          <p:spPr>
            <a:xfrm>
              <a:off x="6411098" y="2249364"/>
              <a:ext cx="127029" cy="50812"/>
            </a:xfrm>
            <a:custGeom>
              <a:avLst/>
              <a:gdLst>
                <a:gd name="connsiteX0" fmla="*/ 9527 w 127029"/>
                <a:gd name="connsiteY0" fmla="*/ 9527 h 50811"/>
                <a:gd name="connsiteX1" fmla="*/ 120424 w 127029"/>
                <a:gd name="connsiteY1" fmla="*/ 9527 h 50811"/>
                <a:gd name="connsiteX2" fmla="*/ 9527 w 127029"/>
                <a:gd name="connsiteY2" fmla="*/ 9527 h 50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29" h="50811">
                  <a:moveTo>
                    <a:pt x="9527" y="9527"/>
                  </a:moveTo>
                  <a:lnTo>
                    <a:pt x="120424" y="9527"/>
                  </a:lnTo>
                  <a:cubicBezTo>
                    <a:pt x="120424" y="9527"/>
                    <a:pt x="74312" y="96542"/>
                    <a:pt x="9527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2" name="Frihåndsform: figur 261">
              <a:extLst>
                <a:ext uri="{FF2B5EF4-FFF2-40B4-BE49-F238E27FC236}">
                  <a16:creationId xmlns:a16="http://schemas.microsoft.com/office/drawing/2014/main" id="{2A9C7589-759B-4459-9FD7-D4CEA05BB00C}"/>
                </a:ext>
              </a:extLst>
            </p:cNvPr>
            <p:cNvSpPr/>
            <p:nvPr/>
          </p:nvSpPr>
          <p:spPr>
            <a:xfrm>
              <a:off x="6149925" y="2385286"/>
              <a:ext cx="647850" cy="342980"/>
            </a:xfrm>
            <a:custGeom>
              <a:avLst/>
              <a:gdLst>
                <a:gd name="connsiteX0" fmla="*/ 494400 w 647850"/>
                <a:gd name="connsiteY0" fmla="*/ 9527 h 342979"/>
                <a:gd name="connsiteX1" fmla="*/ 465183 w 647850"/>
                <a:gd name="connsiteY1" fmla="*/ 11306 h 342979"/>
                <a:gd name="connsiteX2" fmla="*/ 202105 w 647850"/>
                <a:gd name="connsiteY2" fmla="*/ 26930 h 342979"/>
                <a:gd name="connsiteX3" fmla="*/ 186480 w 647850"/>
                <a:gd name="connsiteY3" fmla="*/ 11306 h 342979"/>
                <a:gd name="connsiteX4" fmla="*/ 157517 w 647850"/>
                <a:gd name="connsiteY4" fmla="*/ 9527 h 342979"/>
                <a:gd name="connsiteX5" fmla="*/ 9528 w 647850"/>
                <a:gd name="connsiteY5" fmla="*/ 181525 h 342979"/>
                <a:gd name="connsiteX6" fmla="*/ 9528 w 647850"/>
                <a:gd name="connsiteY6" fmla="*/ 299536 h 342979"/>
                <a:gd name="connsiteX7" fmla="*/ 51067 w 647850"/>
                <a:gd name="connsiteY7" fmla="*/ 341582 h 342979"/>
                <a:gd name="connsiteX8" fmla="*/ 51194 w 647850"/>
                <a:gd name="connsiteY8" fmla="*/ 341582 h 342979"/>
                <a:gd name="connsiteX9" fmla="*/ 600469 w 647850"/>
                <a:gd name="connsiteY9" fmla="*/ 341582 h 342979"/>
                <a:gd name="connsiteX10" fmla="*/ 642770 w 647850"/>
                <a:gd name="connsiteY10" fmla="*/ 299536 h 342979"/>
                <a:gd name="connsiteX11" fmla="*/ 642770 w 647850"/>
                <a:gd name="connsiteY11" fmla="*/ 181525 h 342979"/>
                <a:gd name="connsiteX12" fmla="*/ 494400 w 647850"/>
                <a:gd name="connsiteY12" fmla="*/ 9527 h 342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7850" h="342979">
                  <a:moveTo>
                    <a:pt x="494400" y="9527"/>
                  </a:moveTo>
                  <a:lnTo>
                    <a:pt x="465183" y="11306"/>
                  </a:lnTo>
                  <a:cubicBezTo>
                    <a:pt x="396854" y="88273"/>
                    <a:pt x="279072" y="95259"/>
                    <a:pt x="202105" y="26930"/>
                  </a:cubicBezTo>
                  <a:cubicBezTo>
                    <a:pt x="196592" y="22040"/>
                    <a:pt x="191371" y="16819"/>
                    <a:pt x="186480" y="11306"/>
                  </a:cubicBezTo>
                  <a:lnTo>
                    <a:pt x="157517" y="9527"/>
                  </a:lnTo>
                  <a:cubicBezTo>
                    <a:pt x="70375" y="31376"/>
                    <a:pt x="9528" y="91715"/>
                    <a:pt x="9528" y="181525"/>
                  </a:cubicBezTo>
                  <a:lnTo>
                    <a:pt x="9528" y="299536"/>
                  </a:lnTo>
                  <a:cubicBezTo>
                    <a:pt x="9388" y="322617"/>
                    <a:pt x="27985" y="341443"/>
                    <a:pt x="51067" y="341582"/>
                  </a:cubicBezTo>
                  <a:cubicBezTo>
                    <a:pt x="51105" y="341582"/>
                    <a:pt x="51156" y="341582"/>
                    <a:pt x="51194" y="341582"/>
                  </a:cubicBezTo>
                  <a:lnTo>
                    <a:pt x="600469" y="341582"/>
                  </a:lnTo>
                  <a:cubicBezTo>
                    <a:pt x="623728" y="341582"/>
                    <a:pt x="642630" y="322795"/>
                    <a:pt x="642770" y="299536"/>
                  </a:cubicBezTo>
                  <a:lnTo>
                    <a:pt x="642770" y="181525"/>
                  </a:lnTo>
                  <a:cubicBezTo>
                    <a:pt x="642770" y="91715"/>
                    <a:pt x="581542" y="31376"/>
                    <a:pt x="494400" y="9527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3" name="Frihåndsform: figur 262">
              <a:extLst>
                <a:ext uri="{FF2B5EF4-FFF2-40B4-BE49-F238E27FC236}">
                  <a16:creationId xmlns:a16="http://schemas.microsoft.com/office/drawing/2014/main" id="{8C56BAAA-C92C-4C2D-8A1D-FDAE05EF23CC}"/>
                </a:ext>
              </a:extLst>
            </p:cNvPr>
            <p:cNvSpPr/>
            <p:nvPr/>
          </p:nvSpPr>
          <p:spPr>
            <a:xfrm>
              <a:off x="6255385" y="1911716"/>
              <a:ext cx="431900" cy="482712"/>
            </a:xfrm>
            <a:custGeom>
              <a:avLst/>
              <a:gdLst>
                <a:gd name="connsiteX0" fmla="*/ 372299 w 431900"/>
                <a:gd name="connsiteY0" fmla="*/ 234374 h 482711"/>
                <a:gd name="connsiteX1" fmla="*/ 222023 w 431900"/>
                <a:gd name="connsiteY1" fmla="*/ 440923 h 482711"/>
                <a:gd name="connsiteX2" fmla="*/ 72636 w 431900"/>
                <a:gd name="connsiteY2" fmla="*/ 252793 h 482711"/>
                <a:gd name="connsiteX3" fmla="*/ 139072 w 431900"/>
                <a:gd name="connsiteY3" fmla="*/ 94133 h 482711"/>
                <a:gd name="connsiteX4" fmla="*/ 371790 w 431900"/>
                <a:gd name="connsiteY4" fmla="*/ 213541 h 482711"/>
                <a:gd name="connsiteX5" fmla="*/ 371790 w 431900"/>
                <a:gd name="connsiteY5" fmla="*/ 234374 h 482711"/>
                <a:gd name="connsiteX6" fmla="*/ 312214 w 431900"/>
                <a:gd name="connsiteY6" fmla="*/ 27315 h 482711"/>
                <a:gd name="connsiteX7" fmla="*/ 113794 w 431900"/>
                <a:gd name="connsiteY7" fmla="*/ 52721 h 482711"/>
                <a:gd name="connsiteX8" fmla="*/ 26905 w 431900"/>
                <a:gd name="connsiteY8" fmla="*/ 219765 h 482711"/>
                <a:gd name="connsiteX9" fmla="*/ 10010 w 431900"/>
                <a:gd name="connsiteY9" fmla="*/ 276801 h 482711"/>
                <a:gd name="connsiteX10" fmla="*/ 57901 w 431900"/>
                <a:gd name="connsiteY10" fmla="*/ 340316 h 482711"/>
                <a:gd name="connsiteX11" fmla="*/ 221515 w 431900"/>
                <a:gd name="connsiteY11" fmla="*/ 477127 h 482711"/>
                <a:gd name="connsiteX12" fmla="*/ 385383 w 431900"/>
                <a:gd name="connsiteY12" fmla="*/ 339808 h 482711"/>
                <a:gd name="connsiteX13" fmla="*/ 430351 w 431900"/>
                <a:gd name="connsiteY13" fmla="*/ 277437 h 482711"/>
                <a:gd name="connsiteX14" fmla="*/ 406342 w 431900"/>
                <a:gd name="connsiteY14" fmla="*/ 216335 h 482711"/>
                <a:gd name="connsiteX15" fmla="*/ 312214 w 431900"/>
                <a:gd name="connsiteY15" fmla="*/ 28586 h 482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1900" h="482711">
                  <a:moveTo>
                    <a:pt x="372299" y="234374"/>
                  </a:moveTo>
                  <a:cubicBezTo>
                    <a:pt x="372299" y="327994"/>
                    <a:pt x="305227" y="440923"/>
                    <a:pt x="222023" y="440923"/>
                  </a:cubicBezTo>
                  <a:cubicBezTo>
                    <a:pt x="144153" y="440923"/>
                    <a:pt x="80512" y="342094"/>
                    <a:pt x="72636" y="252793"/>
                  </a:cubicBezTo>
                  <a:cubicBezTo>
                    <a:pt x="82798" y="214684"/>
                    <a:pt x="98042" y="135291"/>
                    <a:pt x="139072" y="94133"/>
                  </a:cubicBezTo>
                  <a:cubicBezTo>
                    <a:pt x="178452" y="136815"/>
                    <a:pt x="254796" y="213033"/>
                    <a:pt x="371790" y="213541"/>
                  </a:cubicBezTo>
                  <a:cubicBezTo>
                    <a:pt x="371790" y="220146"/>
                    <a:pt x="371790" y="227133"/>
                    <a:pt x="371790" y="234374"/>
                  </a:cubicBezTo>
                  <a:moveTo>
                    <a:pt x="312214" y="27315"/>
                  </a:moveTo>
                  <a:cubicBezTo>
                    <a:pt x="211860" y="-24258"/>
                    <a:pt x="113794" y="52721"/>
                    <a:pt x="113794" y="52721"/>
                  </a:cubicBezTo>
                  <a:cubicBezTo>
                    <a:pt x="113794" y="52721"/>
                    <a:pt x="483" y="84225"/>
                    <a:pt x="26905" y="219765"/>
                  </a:cubicBezTo>
                  <a:cubicBezTo>
                    <a:pt x="15219" y="228657"/>
                    <a:pt x="7470" y="245171"/>
                    <a:pt x="10010" y="276801"/>
                  </a:cubicBezTo>
                  <a:cubicBezTo>
                    <a:pt x="13440" y="318467"/>
                    <a:pt x="35416" y="336124"/>
                    <a:pt x="57901" y="340316"/>
                  </a:cubicBezTo>
                  <a:cubicBezTo>
                    <a:pt x="88769" y="415391"/>
                    <a:pt x="149616" y="477127"/>
                    <a:pt x="221515" y="477127"/>
                  </a:cubicBezTo>
                  <a:cubicBezTo>
                    <a:pt x="293413" y="477127"/>
                    <a:pt x="354641" y="415136"/>
                    <a:pt x="385383" y="339808"/>
                  </a:cubicBezTo>
                  <a:cubicBezTo>
                    <a:pt x="406977" y="335235"/>
                    <a:pt x="427048" y="317197"/>
                    <a:pt x="430351" y="277437"/>
                  </a:cubicBezTo>
                  <a:cubicBezTo>
                    <a:pt x="433400" y="239328"/>
                    <a:pt x="421840" y="223449"/>
                    <a:pt x="406342" y="216335"/>
                  </a:cubicBezTo>
                  <a:cubicBezTo>
                    <a:pt x="419045" y="127415"/>
                    <a:pt x="377888" y="62249"/>
                    <a:pt x="312214" y="2858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4" name="Frihåndsform: figur 263">
              <a:extLst>
                <a:ext uri="{FF2B5EF4-FFF2-40B4-BE49-F238E27FC236}">
                  <a16:creationId xmlns:a16="http://schemas.microsoft.com/office/drawing/2014/main" id="{F4B485B5-C927-4015-AA92-E9B62E42DAB1}"/>
                </a:ext>
              </a:extLst>
            </p:cNvPr>
            <p:cNvSpPr/>
            <p:nvPr/>
          </p:nvSpPr>
          <p:spPr>
            <a:xfrm>
              <a:off x="6379815" y="2138137"/>
              <a:ext cx="63515" cy="63515"/>
            </a:xfrm>
            <a:custGeom>
              <a:avLst/>
              <a:gdLst>
                <a:gd name="connsiteX0" fmla="*/ 36746 w 63514"/>
                <a:gd name="connsiteY0" fmla="*/ 53429 h 63514"/>
                <a:gd name="connsiteX1" fmla="*/ 10095 w 63514"/>
                <a:gd name="connsiteY1" fmla="*/ 36750 h 63514"/>
                <a:gd name="connsiteX2" fmla="*/ 26786 w 63514"/>
                <a:gd name="connsiteY2" fmla="*/ 10099 h 63514"/>
                <a:gd name="connsiteX3" fmla="*/ 53425 w 63514"/>
                <a:gd name="connsiteY3" fmla="*/ 26778 h 63514"/>
                <a:gd name="connsiteX4" fmla="*/ 53895 w 63514"/>
                <a:gd name="connsiteY4" fmla="*/ 29675 h 63514"/>
                <a:gd name="connsiteX5" fmla="*/ 36746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6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6" y="10099"/>
                  </a:cubicBezTo>
                  <a:cubicBezTo>
                    <a:pt x="38740" y="7343"/>
                    <a:pt x="50681" y="14812"/>
                    <a:pt x="53425" y="26778"/>
                  </a:cubicBezTo>
                  <a:cubicBezTo>
                    <a:pt x="53641" y="27731"/>
                    <a:pt x="53806" y="28696"/>
                    <a:pt x="53895" y="29675"/>
                  </a:cubicBezTo>
                  <a:cubicBezTo>
                    <a:pt x="55648" y="40955"/>
                    <a:pt x="48000" y="51549"/>
                    <a:pt x="36746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5" name="Frihåndsform: figur 264">
              <a:extLst>
                <a:ext uri="{FF2B5EF4-FFF2-40B4-BE49-F238E27FC236}">
                  <a16:creationId xmlns:a16="http://schemas.microsoft.com/office/drawing/2014/main" id="{DD6D9818-1206-4408-AB59-CB25804BF129}"/>
                </a:ext>
              </a:extLst>
            </p:cNvPr>
            <p:cNvSpPr/>
            <p:nvPr/>
          </p:nvSpPr>
          <p:spPr>
            <a:xfrm>
              <a:off x="6503034" y="2138137"/>
              <a:ext cx="63515" cy="63515"/>
            </a:xfrm>
            <a:custGeom>
              <a:avLst/>
              <a:gdLst>
                <a:gd name="connsiteX0" fmla="*/ 36745 w 63514"/>
                <a:gd name="connsiteY0" fmla="*/ 53429 h 63514"/>
                <a:gd name="connsiteX1" fmla="*/ 10095 w 63514"/>
                <a:gd name="connsiteY1" fmla="*/ 36750 h 63514"/>
                <a:gd name="connsiteX2" fmla="*/ 26786 w 63514"/>
                <a:gd name="connsiteY2" fmla="*/ 10099 h 63514"/>
                <a:gd name="connsiteX3" fmla="*/ 53425 w 63514"/>
                <a:gd name="connsiteY3" fmla="*/ 26778 h 63514"/>
                <a:gd name="connsiteX4" fmla="*/ 53895 w 63514"/>
                <a:gd name="connsiteY4" fmla="*/ 29675 h 63514"/>
                <a:gd name="connsiteX5" fmla="*/ 36745 w 63514"/>
                <a:gd name="connsiteY5" fmla="*/ 53429 h 63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514" h="63514">
                  <a:moveTo>
                    <a:pt x="36745" y="53429"/>
                  </a:moveTo>
                  <a:cubicBezTo>
                    <a:pt x="24779" y="56186"/>
                    <a:pt x="12851" y="48716"/>
                    <a:pt x="10095" y="36750"/>
                  </a:cubicBezTo>
                  <a:cubicBezTo>
                    <a:pt x="7351" y="24784"/>
                    <a:pt x="14820" y="12856"/>
                    <a:pt x="26786" y="10099"/>
                  </a:cubicBezTo>
                  <a:cubicBezTo>
                    <a:pt x="38740" y="7343"/>
                    <a:pt x="50681" y="14812"/>
                    <a:pt x="53425" y="26778"/>
                  </a:cubicBezTo>
                  <a:cubicBezTo>
                    <a:pt x="53641" y="27731"/>
                    <a:pt x="53806" y="28696"/>
                    <a:pt x="53895" y="29675"/>
                  </a:cubicBezTo>
                  <a:cubicBezTo>
                    <a:pt x="55584" y="40942"/>
                    <a:pt x="47962" y="51486"/>
                    <a:pt x="36745" y="53429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6" name="Frihåndsform: figur 265">
              <a:extLst>
                <a:ext uri="{FF2B5EF4-FFF2-40B4-BE49-F238E27FC236}">
                  <a16:creationId xmlns:a16="http://schemas.microsoft.com/office/drawing/2014/main" id="{873CF35C-7A75-4BAE-BDA4-FA430A636813}"/>
                </a:ext>
              </a:extLst>
            </p:cNvPr>
            <p:cNvSpPr/>
            <p:nvPr/>
          </p:nvSpPr>
          <p:spPr>
            <a:xfrm>
              <a:off x="7770051" y="2301056"/>
              <a:ext cx="127029" cy="190544"/>
            </a:xfrm>
            <a:custGeom>
              <a:avLst/>
              <a:gdLst>
                <a:gd name="connsiteX0" fmla="*/ 129198 w 127029"/>
                <a:gd name="connsiteY0" fmla="*/ 192713 h 190544"/>
                <a:gd name="connsiteX1" fmla="*/ 47645 w 127029"/>
                <a:gd name="connsiteY1" fmla="*/ 192713 h 190544"/>
                <a:gd name="connsiteX2" fmla="*/ 9537 w 127029"/>
                <a:gd name="connsiteY2" fmla="*/ 156141 h 190544"/>
                <a:gd name="connsiteX3" fmla="*/ 9537 w 127029"/>
                <a:gd name="connsiteY3" fmla="*/ 154604 h 190544"/>
                <a:gd name="connsiteX4" fmla="*/ 9537 w 127029"/>
                <a:gd name="connsiteY4" fmla="*/ 47646 h 190544"/>
                <a:gd name="connsiteX5" fmla="*/ 46109 w 127029"/>
                <a:gd name="connsiteY5" fmla="*/ 9537 h 190544"/>
                <a:gd name="connsiteX6" fmla="*/ 47645 w 127029"/>
                <a:gd name="connsiteY6" fmla="*/ 9537 h 190544"/>
                <a:gd name="connsiteX7" fmla="*/ 91089 w 127029"/>
                <a:gd name="connsiteY7" fmla="*/ 9537 h 190544"/>
                <a:gd name="connsiteX8" fmla="*/ 129198 w 127029"/>
                <a:gd name="connsiteY8" fmla="*/ 46108 h 190544"/>
                <a:gd name="connsiteX9" fmla="*/ 129198 w 127029"/>
                <a:gd name="connsiteY9" fmla="*/ 47646 h 190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7029" h="190544">
                  <a:moveTo>
                    <a:pt x="129198" y="192713"/>
                  </a:moveTo>
                  <a:lnTo>
                    <a:pt x="47645" y="192713"/>
                  </a:lnTo>
                  <a:cubicBezTo>
                    <a:pt x="27029" y="193132"/>
                    <a:pt x="9968" y="176771"/>
                    <a:pt x="9537" y="156141"/>
                  </a:cubicBezTo>
                  <a:cubicBezTo>
                    <a:pt x="9524" y="155633"/>
                    <a:pt x="9524" y="155113"/>
                    <a:pt x="9537" y="154604"/>
                  </a:cubicBezTo>
                  <a:lnTo>
                    <a:pt x="9537" y="47646"/>
                  </a:lnTo>
                  <a:cubicBezTo>
                    <a:pt x="9105" y="27029"/>
                    <a:pt x="25479" y="9956"/>
                    <a:pt x="46109" y="9537"/>
                  </a:cubicBezTo>
                  <a:cubicBezTo>
                    <a:pt x="46616" y="9524"/>
                    <a:pt x="47138" y="9524"/>
                    <a:pt x="47645" y="9537"/>
                  </a:cubicBezTo>
                  <a:lnTo>
                    <a:pt x="91089" y="9537"/>
                  </a:lnTo>
                  <a:cubicBezTo>
                    <a:pt x="111707" y="9118"/>
                    <a:pt x="128766" y="25479"/>
                    <a:pt x="129198" y="46108"/>
                  </a:cubicBezTo>
                  <a:cubicBezTo>
                    <a:pt x="129211" y="46617"/>
                    <a:pt x="129211" y="47137"/>
                    <a:pt x="129198" y="47646"/>
                  </a:cubicBezTo>
                  <a:close/>
                </a:path>
              </a:pathLst>
            </a:custGeom>
            <a:solidFill>
              <a:srgbClr val="F9C67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7" name="Frihåndsform: figur 266">
              <a:extLst>
                <a:ext uri="{FF2B5EF4-FFF2-40B4-BE49-F238E27FC236}">
                  <a16:creationId xmlns:a16="http://schemas.microsoft.com/office/drawing/2014/main" id="{70C1B4B1-DE9E-4B17-BEE2-1AC3D7BF2303}"/>
                </a:ext>
              </a:extLst>
            </p:cNvPr>
            <p:cNvSpPr/>
            <p:nvPr/>
          </p:nvSpPr>
          <p:spPr>
            <a:xfrm>
              <a:off x="7538612" y="2082829"/>
              <a:ext cx="609741" cy="139732"/>
            </a:xfrm>
            <a:custGeom>
              <a:avLst/>
              <a:gdLst>
                <a:gd name="connsiteX0" fmla="*/ 557659 w 609741"/>
                <a:gd name="connsiteY0" fmla="*/ 134016 h 139732"/>
                <a:gd name="connsiteX1" fmla="*/ 53098 w 609741"/>
                <a:gd name="connsiteY1" fmla="*/ 134016 h 139732"/>
                <a:gd name="connsiteX2" fmla="*/ 9527 w 609741"/>
                <a:gd name="connsiteY2" fmla="*/ 90699 h 139732"/>
                <a:gd name="connsiteX3" fmla="*/ 9527 w 609741"/>
                <a:gd name="connsiteY3" fmla="*/ 90445 h 139732"/>
                <a:gd name="connsiteX4" fmla="*/ 9527 w 609741"/>
                <a:gd name="connsiteY4" fmla="*/ 53099 h 139732"/>
                <a:gd name="connsiteX5" fmla="*/ 52844 w 609741"/>
                <a:gd name="connsiteY5" fmla="*/ 9527 h 139732"/>
                <a:gd name="connsiteX6" fmla="*/ 53098 w 609741"/>
                <a:gd name="connsiteY6" fmla="*/ 9527 h 139732"/>
                <a:gd name="connsiteX7" fmla="*/ 557659 w 609741"/>
                <a:gd name="connsiteY7" fmla="*/ 9527 h 139732"/>
                <a:gd name="connsiteX8" fmla="*/ 601230 w 609741"/>
                <a:gd name="connsiteY8" fmla="*/ 52845 h 139732"/>
                <a:gd name="connsiteX9" fmla="*/ 601230 w 609741"/>
                <a:gd name="connsiteY9" fmla="*/ 53099 h 139732"/>
                <a:gd name="connsiteX10" fmla="*/ 601230 w 609741"/>
                <a:gd name="connsiteY10" fmla="*/ 90318 h 139732"/>
                <a:gd name="connsiteX11" fmla="*/ 557913 w 609741"/>
                <a:gd name="connsiteY11" fmla="*/ 133889 h 139732"/>
                <a:gd name="connsiteX12" fmla="*/ 557659 w 609741"/>
                <a:gd name="connsiteY12" fmla="*/ 133889 h 13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9741" h="139732">
                  <a:moveTo>
                    <a:pt x="557659" y="134016"/>
                  </a:moveTo>
                  <a:lnTo>
                    <a:pt x="53098" y="134016"/>
                  </a:lnTo>
                  <a:cubicBezTo>
                    <a:pt x="29102" y="134093"/>
                    <a:pt x="9603" y="114695"/>
                    <a:pt x="9527" y="90699"/>
                  </a:cubicBezTo>
                  <a:cubicBezTo>
                    <a:pt x="9527" y="90610"/>
                    <a:pt x="9527" y="90534"/>
                    <a:pt x="9527" y="90445"/>
                  </a:cubicBezTo>
                  <a:lnTo>
                    <a:pt x="9527" y="53099"/>
                  </a:lnTo>
                  <a:cubicBezTo>
                    <a:pt x="9451" y="29103"/>
                    <a:pt x="28849" y="9604"/>
                    <a:pt x="52844" y="9527"/>
                  </a:cubicBezTo>
                  <a:cubicBezTo>
                    <a:pt x="52933" y="9527"/>
                    <a:pt x="53009" y="9527"/>
                    <a:pt x="53098" y="9527"/>
                  </a:cubicBezTo>
                  <a:lnTo>
                    <a:pt x="557659" y="9527"/>
                  </a:lnTo>
                  <a:cubicBezTo>
                    <a:pt x="581655" y="9451"/>
                    <a:pt x="601154" y="28849"/>
                    <a:pt x="601230" y="52845"/>
                  </a:cubicBezTo>
                  <a:cubicBezTo>
                    <a:pt x="601230" y="52933"/>
                    <a:pt x="601230" y="53010"/>
                    <a:pt x="601230" y="53099"/>
                  </a:cubicBezTo>
                  <a:lnTo>
                    <a:pt x="601230" y="90318"/>
                  </a:lnTo>
                  <a:cubicBezTo>
                    <a:pt x="601307" y="114314"/>
                    <a:pt x="581909" y="133813"/>
                    <a:pt x="557913" y="133889"/>
                  </a:cubicBezTo>
                  <a:cubicBezTo>
                    <a:pt x="557824" y="133889"/>
                    <a:pt x="557748" y="133889"/>
                    <a:pt x="557659" y="133889"/>
                  </a:cubicBezTo>
                </a:path>
              </a:pathLst>
            </a:custGeom>
            <a:solidFill>
              <a:srgbClr val="F9C67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8" name="Frihåndsform: figur 267">
              <a:extLst>
                <a:ext uri="{FF2B5EF4-FFF2-40B4-BE49-F238E27FC236}">
                  <a16:creationId xmlns:a16="http://schemas.microsoft.com/office/drawing/2014/main" id="{4B8BD5FD-36F1-4DFE-8B50-BCB2AA15AE13}"/>
                </a:ext>
              </a:extLst>
            </p:cNvPr>
            <p:cNvSpPr/>
            <p:nvPr/>
          </p:nvSpPr>
          <p:spPr>
            <a:xfrm>
              <a:off x="7570878" y="1912228"/>
              <a:ext cx="533524" cy="457306"/>
            </a:xfrm>
            <a:custGeom>
              <a:avLst/>
              <a:gdLst>
                <a:gd name="connsiteX0" fmla="*/ 527680 w 533523"/>
                <a:gd name="connsiteY0" fmla="*/ 232083 h 457306"/>
                <a:gd name="connsiteX1" fmla="*/ 268540 w 533523"/>
                <a:gd name="connsiteY1" fmla="*/ 454765 h 457306"/>
                <a:gd name="connsiteX2" fmla="*/ 9527 w 533523"/>
                <a:gd name="connsiteY2" fmla="*/ 232083 h 457306"/>
                <a:gd name="connsiteX3" fmla="*/ 268540 w 533523"/>
                <a:gd name="connsiteY3" fmla="*/ 9527 h 457306"/>
                <a:gd name="connsiteX4" fmla="*/ 527680 w 533523"/>
                <a:gd name="connsiteY4" fmla="*/ 232083 h 457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523" h="457306">
                  <a:moveTo>
                    <a:pt x="527680" y="232083"/>
                  </a:moveTo>
                  <a:cubicBezTo>
                    <a:pt x="527680" y="355047"/>
                    <a:pt x="411702" y="454765"/>
                    <a:pt x="268540" y="454765"/>
                  </a:cubicBezTo>
                  <a:cubicBezTo>
                    <a:pt x="125378" y="454765"/>
                    <a:pt x="9527" y="355047"/>
                    <a:pt x="9527" y="232083"/>
                  </a:cubicBezTo>
                  <a:cubicBezTo>
                    <a:pt x="9527" y="109118"/>
                    <a:pt x="126140" y="9527"/>
                    <a:pt x="268540" y="9527"/>
                  </a:cubicBezTo>
                  <a:cubicBezTo>
                    <a:pt x="410940" y="9527"/>
                    <a:pt x="527680" y="109118"/>
                    <a:pt x="527680" y="232083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69" name="Frihåndsform: figur 268">
              <a:extLst>
                <a:ext uri="{FF2B5EF4-FFF2-40B4-BE49-F238E27FC236}">
                  <a16:creationId xmlns:a16="http://schemas.microsoft.com/office/drawing/2014/main" id="{2899DA74-8D22-4FF3-A8DC-AEA109455E14}"/>
                </a:ext>
              </a:extLst>
            </p:cNvPr>
            <p:cNvSpPr/>
            <p:nvPr/>
          </p:nvSpPr>
          <p:spPr>
            <a:xfrm>
              <a:off x="7638838" y="2042052"/>
              <a:ext cx="406494" cy="215950"/>
            </a:xfrm>
            <a:custGeom>
              <a:avLst/>
              <a:gdLst>
                <a:gd name="connsiteX0" fmla="*/ 341328 w 406494"/>
                <a:gd name="connsiteY0" fmla="*/ 215696 h 215950"/>
                <a:gd name="connsiteX1" fmla="*/ 68977 w 406494"/>
                <a:gd name="connsiteY1" fmla="*/ 215696 h 215950"/>
                <a:gd name="connsiteX2" fmla="*/ 9527 w 406494"/>
                <a:gd name="connsiteY2" fmla="*/ 156246 h 215950"/>
                <a:gd name="connsiteX3" fmla="*/ 9527 w 406494"/>
                <a:gd name="connsiteY3" fmla="*/ 156119 h 215950"/>
                <a:gd name="connsiteX4" fmla="*/ 9527 w 406494"/>
                <a:gd name="connsiteY4" fmla="*/ 69104 h 215950"/>
                <a:gd name="connsiteX5" fmla="*/ 68851 w 406494"/>
                <a:gd name="connsiteY5" fmla="*/ 9527 h 215950"/>
                <a:gd name="connsiteX6" fmla="*/ 68977 w 406494"/>
                <a:gd name="connsiteY6" fmla="*/ 9527 h 215950"/>
                <a:gd name="connsiteX7" fmla="*/ 341328 w 406494"/>
                <a:gd name="connsiteY7" fmla="*/ 9527 h 215950"/>
                <a:gd name="connsiteX8" fmla="*/ 400778 w 406494"/>
                <a:gd name="connsiteY8" fmla="*/ 69104 h 215950"/>
                <a:gd name="connsiteX9" fmla="*/ 400778 w 406494"/>
                <a:gd name="connsiteY9" fmla="*/ 156119 h 215950"/>
                <a:gd name="connsiteX10" fmla="*/ 341328 w 406494"/>
                <a:gd name="connsiteY10" fmla="*/ 215696 h 21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6494" h="215950">
                  <a:moveTo>
                    <a:pt x="341328" y="215696"/>
                  </a:moveTo>
                  <a:lnTo>
                    <a:pt x="68977" y="215696"/>
                  </a:lnTo>
                  <a:cubicBezTo>
                    <a:pt x="36140" y="215696"/>
                    <a:pt x="9527" y="189083"/>
                    <a:pt x="9527" y="156246"/>
                  </a:cubicBezTo>
                  <a:cubicBezTo>
                    <a:pt x="9527" y="156208"/>
                    <a:pt x="9527" y="156157"/>
                    <a:pt x="9527" y="156119"/>
                  </a:cubicBezTo>
                  <a:lnTo>
                    <a:pt x="9527" y="69104"/>
                  </a:lnTo>
                  <a:cubicBezTo>
                    <a:pt x="9451" y="36267"/>
                    <a:pt x="36013" y="9597"/>
                    <a:pt x="68851" y="9527"/>
                  </a:cubicBezTo>
                  <a:cubicBezTo>
                    <a:pt x="68889" y="9527"/>
                    <a:pt x="68939" y="9527"/>
                    <a:pt x="68977" y="9527"/>
                  </a:cubicBezTo>
                  <a:lnTo>
                    <a:pt x="341328" y="9527"/>
                  </a:lnTo>
                  <a:cubicBezTo>
                    <a:pt x="374178" y="9597"/>
                    <a:pt x="400778" y="36254"/>
                    <a:pt x="400778" y="69104"/>
                  </a:cubicBezTo>
                  <a:lnTo>
                    <a:pt x="400778" y="156119"/>
                  </a:lnTo>
                  <a:cubicBezTo>
                    <a:pt x="400778" y="188969"/>
                    <a:pt x="374178" y="215620"/>
                    <a:pt x="341328" y="21569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70" name="Frihåndsform: figur 269">
              <a:extLst>
                <a:ext uri="{FF2B5EF4-FFF2-40B4-BE49-F238E27FC236}">
                  <a16:creationId xmlns:a16="http://schemas.microsoft.com/office/drawing/2014/main" id="{40808B4C-A165-4DA6-81FA-49ABFA426AE8}"/>
                </a:ext>
              </a:extLst>
            </p:cNvPr>
            <p:cNvSpPr/>
            <p:nvPr/>
          </p:nvSpPr>
          <p:spPr>
            <a:xfrm>
              <a:off x="7702734" y="2115094"/>
              <a:ext cx="76218" cy="76218"/>
            </a:xfrm>
            <a:custGeom>
              <a:avLst/>
              <a:gdLst>
                <a:gd name="connsiteX0" fmla="*/ 39633 w 76217"/>
                <a:gd name="connsiteY0" fmla="*/ 69485 h 76217"/>
                <a:gd name="connsiteX1" fmla="*/ 9527 w 76217"/>
                <a:gd name="connsiteY1" fmla="*/ 39633 h 76217"/>
                <a:gd name="connsiteX2" fmla="*/ 39379 w 76217"/>
                <a:gd name="connsiteY2" fmla="*/ 9527 h 76217"/>
                <a:gd name="connsiteX3" fmla="*/ 69485 w 76217"/>
                <a:gd name="connsiteY3" fmla="*/ 39379 h 76217"/>
                <a:gd name="connsiteX4" fmla="*/ 69485 w 76217"/>
                <a:gd name="connsiteY4" fmla="*/ 39633 h 76217"/>
                <a:gd name="connsiteX5" fmla="*/ 39633 w 76217"/>
                <a:gd name="connsiteY5" fmla="*/ 69485 h 7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17" h="76217">
                  <a:moveTo>
                    <a:pt x="39633" y="69485"/>
                  </a:moveTo>
                  <a:cubicBezTo>
                    <a:pt x="23082" y="69562"/>
                    <a:pt x="9603" y="56185"/>
                    <a:pt x="9527" y="39633"/>
                  </a:cubicBezTo>
                  <a:cubicBezTo>
                    <a:pt x="9464" y="23081"/>
                    <a:pt x="22827" y="9604"/>
                    <a:pt x="39379" y="9527"/>
                  </a:cubicBezTo>
                  <a:cubicBezTo>
                    <a:pt x="55931" y="9464"/>
                    <a:pt x="69409" y="22827"/>
                    <a:pt x="69485" y="39379"/>
                  </a:cubicBezTo>
                  <a:cubicBezTo>
                    <a:pt x="69485" y="39468"/>
                    <a:pt x="69485" y="39544"/>
                    <a:pt x="69485" y="39633"/>
                  </a:cubicBezTo>
                  <a:cubicBezTo>
                    <a:pt x="69485" y="56122"/>
                    <a:pt x="56121" y="69485"/>
                    <a:pt x="39633" y="6948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71" name="Frihåndsform: figur 270">
              <a:extLst>
                <a:ext uri="{FF2B5EF4-FFF2-40B4-BE49-F238E27FC236}">
                  <a16:creationId xmlns:a16="http://schemas.microsoft.com/office/drawing/2014/main" id="{671A571B-84B2-4F36-B5B9-58DE33AC8047}"/>
                </a:ext>
              </a:extLst>
            </p:cNvPr>
            <p:cNvSpPr/>
            <p:nvPr/>
          </p:nvSpPr>
          <p:spPr>
            <a:xfrm>
              <a:off x="7896962" y="2115094"/>
              <a:ext cx="76218" cy="76218"/>
            </a:xfrm>
            <a:custGeom>
              <a:avLst/>
              <a:gdLst>
                <a:gd name="connsiteX0" fmla="*/ 39633 w 76217"/>
                <a:gd name="connsiteY0" fmla="*/ 69485 h 76217"/>
                <a:gd name="connsiteX1" fmla="*/ 9527 w 76217"/>
                <a:gd name="connsiteY1" fmla="*/ 39633 h 76217"/>
                <a:gd name="connsiteX2" fmla="*/ 39380 w 76217"/>
                <a:gd name="connsiteY2" fmla="*/ 9527 h 76217"/>
                <a:gd name="connsiteX3" fmla="*/ 69486 w 76217"/>
                <a:gd name="connsiteY3" fmla="*/ 39379 h 76217"/>
                <a:gd name="connsiteX4" fmla="*/ 69486 w 76217"/>
                <a:gd name="connsiteY4" fmla="*/ 39633 h 76217"/>
                <a:gd name="connsiteX5" fmla="*/ 39633 w 76217"/>
                <a:gd name="connsiteY5" fmla="*/ 69485 h 7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217" h="76217">
                  <a:moveTo>
                    <a:pt x="39633" y="69485"/>
                  </a:moveTo>
                  <a:cubicBezTo>
                    <a:pt x="23082" y="69562"/>
                    <a:pt x="9603" y="56185"/>
                    <a:pt x="9527" y="39633"/>
                  </a:cubicBezTo>
                  <a:cubicBezTo>
                    <a:pt x="9464" y="23081"/>
                    <a:pt x="22827" y="9604"/>
                    <a:pt x="39380" y="9527"/>
                  </a:cubicBezTo>
                  <a:cubicBezTo>
                    <a:pt x="55931" y="9464"/>
                    <a:pt x="69409" y="22827"/>
                    <a:pt x="69486" y="39379"/>
                  </a:cubicBezTo>
                  <a:cubicBezTo>
                    <a:pt x="69486" y="39468"/>
                    <a:pt x="69486" y="39544"/>
                    <a:pt x="69486" y="39633"/>
                  </a:cubicBezTo>
                  <a:cubicBezTo>
                    <a:pt x="69486" y="56122"/>
                    <a:pt x="56122" y="69485"/>
                    <a:pt x="39633" y="6948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72" name="Frihåndsform: figur 271">
              <a:extLst>
                <a:ext uri="{FF2B5EF4-FFF2-40B4-BE49-F238E27FC236}">
                  <a16:creationId xmlns:a16="http://schemas.microsoft.com/office/drawing/2014/main" id="{F3A7CD22-DF03-4DF9-8023-C7A55488DE6C}"/>
                </a:ext>
              </a:extLst>
            </p:cNvPr>
            <p:cNvSpPr/>
            <p:nvPr/>
          </p:nvSpPr>
          <p:spPr>
            <a:xfrm>
              <a:off x="7825826" y="1868149"/>
              <a:ext cx="25406" cy="76218"/>
            </a:xfrm>
            <a:custGeom>
              <a:avLst/>
              <a:gdLst>
                <a:gd name="connsiteX0" fmla="*/ 9527 w 25405"/>
                <a:gd name="connsiteY0" fmla="*/ 9527 h 76217"/>
                <a:gd name="connsiteX1" fmla="*/ 26803 w 25405"/>
                <a:gd name="connsiteY1" fmla="*/ 9527 h 76217"/>
                <a:gd name="connsiteX2" fmla="*/ 26803 w 25405"/>
                <a:gd name="connsiteY2" fmla="*/ 70755 h 76217"/>
                <a:gd name="connsiteX3" fmla="*/ 9527 w 25405"/>
                <a:gd name="connsiteY3" fmla="*/ 70755 h 7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05" h="76217">
                  <a:moveTo>
                    <a:pt x="9527" y="9527"/>
                  </a:moveTo>
                  <a:lnTo>
                    <a:pt x="26803" y="9527"/>
                  </a:lnTo>
                  <a:lnTo>
                    <a:pt x="26803" y="70755"/>
                  </a:lnTo>
                  <a:lnTo>
                    <a:pt x="9527" y="70755"/>
                  </a:lnTo>
                  <a:close/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73" name="Frihåndsform: figur 272">
              <a:extLst>
                <a:ext uri="{FF2B5EF4-FFF2-40B4-BE49-F238E27FC236}">
                  <a16:creationId xmlns:a16="http://schemas.microsoft.com/office/drawing/2014/main" id="{A7892317-2711-4270-A2F2-6A75972B8914}"/>
                </a:ext>
              </a:extLst>
            </p:cNvPr>
            <p:cNvSpPr/>
            <p:nvPr/>
          </p:nvSpPr>
          <p:spPr>
            <a:xfrm>
              <a:off x="7801055" y="1807937"/>
              <a:ext cx="76218" cy="76218"/>
            </a:xfrm>
            <a:custGeom>
              <a:avLst/>
              <a:gdLst>
                <a:gd name="connsiteX0" fmla="*/ 76345 w 76217"/>
                <a:gd name="connsiteY0" fmla="*/ 42936 h 76217"/>
                <a:gd name="connsiteX1" fmla="*/ 42936 w 76217"/>
                <a:gd name="connsiteY1" fmla="*/ 76345 h 76217"/>
                <a:gd name="connsiteX2" fmla="*/ 9527 w 76217"/>
                <a:gd name="connsiteY2" fmla="*/ 42936 h 76217"/>
                <a:gd name="connsiteX3" fmla="*/ 42936 w 76217"/>
                <a:gd name="connsiteY3" fmla="*/ 9527 h 76217"/>
                <a:gd name="connsiteX4" fmla="*/ 76345 w 76217"/>
                <a:gd name="connsiteY4" fmla="*/ 42936 h 7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17" h="76217">
                  <a:moveTo>
                    <a:pt x="76345" y="42936"/>
                  </a:moveTo>
                  <a:cubicBezTo>
                    <a:pt x="76345" y="61387"/>
                    <a:pt x="61393" y="76345"/>
                    <a:pt x="42936" y="76345"/>
                  </a:cubicBezTo>
                  <a:cubicBezTo>
                    <a:pt x="24479" y="76345"/>
                    <a:pt x="9527" y="61387"/>
                    <a:pt x="9527" y="42936"/>
                  </a:cubicBezTo>
                  <a:cubicBezTo>
                    <a:pt x="9527" y="24485"/>
                    <a:pt x="24479" y="9527"/>
                    <a:pt x="42936" y="9527"/>
                  </a:cubicBezTo>
                  <a:cubicBezTo>
                    <a:pt x="61393" y="9527"/>
                    <a:pt x="76345" y="24485"/>
                    <a:pt x="76345" y="42936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74" name="Frihåndsform: figur 273">
              <a:extLst>
                <a:ext uri="{FF2B5EF4-FFF2-40B4-BE49-F238E27FC236}">
                  <a16:creationId xmlns:a16="http://schemas.microsoft.com/office/drawing/2014/main" id="{7860F9BF-5F03-452B-AEF3-30B55DDB6A39}"/>
                </a:ext>
              </a:extLst>
            </p:cNvPr>
            <p:cNvSpPr/>
            <p:nvPr/>
          </p:nvSpPr>
          <p:spPr>
            <a:xfrm>
              <a:off x="7593235" y="2410438"/>
              <a:ext cx="482712" cy="317574"/>
            </a:xfrm>
            <a:custGeom>
              <a:avLst/>
              <a:gdLst>
                <a:gd name="connsiteX0" fmla="*/ 483474 w 482711"/>
                <a:gd name="connsiteY0" fmla="*/ 269175 h 317573"/>
                <a:gd name="connsiteX1" fmla="*/ 483474 w 482711"/>
                <a:gd name="connsiteY1" fmla="*/ 174665 h 317573"/>
                <a:gd name="connsiteX2" fmla="*/ 313127 w 482711"/>
                <a:gd name="connsiteY2" fmla="*/ 9527 h 317573"/>
                <a:gd name="connsiteX3" fmla="*/ 180001 w 482711"/>
                <a:gd name="connsiteY3" fmla="*/ 9527 h 317573"/>
                <a:gd name="connsiteX4" fmla="*/ 9527 w 482711"/>
                <a:gd name="connsiteY4" fmla="*/ 174665 h 317573"/>
                <a:gd name="connsiteX5" fmla="*/ 9527 w 482711"/>
                <a:gd name="connsiteY5" fmla="*/ 269175 h 317573"/>
                <a:gd name="connsiteX6" fmla="*/ 40776 w 482711"/>
                <a:gd name="connsiteY6" fmla="*/ 316430 h 317573"/>
                <a:gd name="connsiteX7" fmla="*/ 452352 w 482711"/>
                <a:gd name="connsiteY7" fmla="*/ 316430 h 317573"/>
                <a:gd name="connsiteX8" fmla="*/ 483982 w 482711"/>
                <a:gd name="connsiteY8" fmla="*/ 269175 h 317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2711" h="317573">
                  <a:moveTo>
                    <a:pt x="483474" y="269175"/>
                  </a:moveTo>
                  <a:lnTo>
                    <a:pt x="483474" y="174665"/>
                  </a:lnTo>
                  <a:cubicBezTo>
                    <a:pt x="478761" y="83471"/>
                    <a:pt x="404423" y="11407"/>
                    <a:pt x="313127" y="9527"/>
                  </a:cubicBezTo>
                  <a:lnTo>
                    <a:pt x="180001" y="9527"/>
                  </a:lnTo>
                  <a:cubicBezTo>
                    <a:pt x="88628" y="11280"/>
                    <a:pt x="14176" y="83395"/>
                    <a:pt x="9527" y="174665"/>
                  </a:cubicBezTo>
                  <a:lnTo>
                    <a:pt x="9527" y="269175"/>
                  </a:lnTo>
                  <a:cubicBezTo>
                    <a:pt x="9527" y="294581"/>
                    <a:pt x="23373" y="316430"/>
                    <a:pt x="40776" y="316430"/>
                  </a:cubicBezTo>
                  <a:lnTo>
                    <a:pt x="452352" y="316430"/>
                  </a:lnTo>
                  <a:cubicBezTo>
                    <a:pt x="469755" y="316430"/>
                    <a:pt x="483982" y="295217"/>
                    <a:pt x="483982" y="269175"/>
                  </a:cubicBezTo>
                </a:path>
              </a:pathLst>
            </a:custGeom>
            <a:solidFill>
              <a:srgbClr val="F4A51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sz="4024"/>
            </a:p>
          </p:txBody>
        </p:sp>
        <p:sp>
          <p:nvSpPr>
            <p:cNvPr id="275" name="TekstSylinder 274">
              <a:extLst>
                <a:ext uri="{FF2B5EF4-FFF2-40B4-BE49-F238E27FC236}">
                  <a16:creationId xmlns:a16="http://schemas.microsoft.com/office/drawing/2014/main" id="{4133A5DD-A087-48E7-9B75-40B7D90608B9}"/>
                </a:ext>
              </a:extLst>
            </p:cNvPr>
            <p:cNvSpPr txBox="1"/>
            <p:nvPr/>
          </p:nvSpPr>
          <p:spPr>
            <a:xfrm>
              <a:off x="724427" y="2745154"/>
              <a:ext cx="788645" cy="251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2311">
                  <a:solidFill>
                    <a:srgbClr val="6E7179"/>
                  </a:solidFill>
                </a:rPr>
                <a:t>Tekst</a:t>
              </a:r>
            </a:p>
          </p:txBody>
        </p:sp>
        <p:sp>
          <p:nvSpPr>
            <p:cNvPr id="276" name="TekstSylinder 275">
              <a:extLst>
                <a:ext uri="{FF2B5EF4-FFF2-40B4-BE49-F238E27FC236}">
                  <a16:creationId xmlns:a16="http://schemas.microsoft.com/office/drawing/2014/main" id="{BEBC5CE8-0B7E-4158-9FF0-CB031C2A58D5}"/>
                </a:ext>
              </a:extLst>
            </p:cNvPr>
            <p:cNvSpPr txBox="1"/>
            <p:nvPr/>
          </p:nvSpPr>
          <p:spPr>
            <a:xfrm>
              <a:off x="1800727" y="2748426"/>
              <a:ext cx="788645" cy="251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2311">
                  <a:solidFill>
                    <a:srgbClr val="6E7179"/>
                  </a:solidFill>
                </a:rPr>
                <a:t>Tekst</a:t>
              </a:r>
            </a:p>
          </p:txBody>
        </p:sp>
        <p:sp>
          <p:nvSpPr>
            <p:cNvPr id="277" name="TekstSylinder 276">
              <a:extLst>
                <a:ext uri="{FF2B5EF4-FFF2-40B4-BE49-F238E27FC236}">
                  <a16:creationId xmlns:a16="http://schemas.microsoft.com/office/drawing/2014/main" id="{49DDEADA-6455-4FEC-A408-CAB03F137023}"/>
                </a:ext>
              </a:extLst>
            </p:cNvPr>
            <p:cNvSpPr txBox="1"/>
            <p:nvPr/>
          </p:nvSpPr>
          <p:spPr>
            <a:xfrm>
              <a:off x="2877027" y="2751698"/>
              <a:ext cx="788645" cy="251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2311">
                  <a:solidFill>
                    <a:srgbClr val="6E7179"/>
                  </a:solidFill>
                </a:rPr>
                <a:t>Tekst</a:t>
              </a:r>
            </a:p>
          </p:txBody>
        </p:sp>
        <p:sp>
          <p:nvSpPr>
            <p:cNvPr id="278" name="TekstSylinder 277">
              <a:extLst>
                <a:ext uri="{FF2B5EF4-FFF2-40B4-BE49-F238E27FC236}">
                  <a16:creationId xmlns:a16="http://schemas.microsoft.com/office/drawing/2014/main" id="{0650EBC1-8FBF-4A29-9423-83CB7498B7AA}"/>
                </a:ext>
              </a:extLst>
            </p:cNvPr>
            <p:cNvSpPr txBox="1"/>
            <p:nvPr/>
          </p:nvSpPr>
          <p:spPr>
            <a:xfrm>
              <a:off x="3953327" y="2754970"/>
              <a:ext cx="788645" cy="251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2311">
                  <a:solidFill>
                    <a:srgbClr val="6E7179"/>
                  </a:solidFill>
                </a:rPr>
                <a:t>Tekst</a:t>
              </a:r>
            </a:p>
          </p:txBody>
        </p:sp>
        <p:sp>
          <p:nvSpPr>
            <p:cNvPr id="279" name="TekstSylinder 278">
              <a:extLst>
                <a:ext uri="{FF2B5EF4-FFF2-40B4-BE49-F238E27FC236}">
                  <a16:creationId xmlns:a16="http://schemas.microsoft.com/office/drawing/2014/main" id="{95A00D52-827F-4E1B-B8D9-F050AC924C8E}"/>
                </a:ext>
              </a:extLst>
            </p:cNvPr>
            <p:cNvSpPr txBox="1"/>
            <p:nvPr/>
          </p:nvSpPr>
          <p:spPr>
            <a:xfrm>
              <a:off x="5029627" y="2758242"/>
              <a:ext cx="788645" cy="251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2311">
                  <a:solidFill>
                    <a:srgbClr val="6E7179"/>
                  </a:solidFill>
                </a:rPr>
                <a:t>Tekst</a:t>
              </a:r>
            </a:p>
          </p:txBody>
        </p:sp>
        <p:sp>
          <p:nvSpPr>
            <p:cNvPr id="280" name="TekstSylinder 279">
              <a:extLst>
                <a:ext uri="{FF2B5EF4-FFF2-40B4-BE49-F238E27FC236}">
                  <a16:creationId xmlns:a16="http://schemas.microsoft.com/office/drawing/2014/main" id="{22DE26BA-B703-4B95-B243-27C2E9DE1323}"/>
                </a:ext>
              </a:extLst>
            </p:cNvPr>
            <p:cNvSpPr txBox="1"/>
            <p:nvPr/>
          </p:nvSpPr>
          <p:spPr>
            <a:xfrm>
              <a:off x="6105927" y="2761514"/>
              <a:ext cx="788645" cy="2519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2311">
                  <a:solidFill>
                    <a:srgbClr val="6E7179"/>
                  </a:solidFill>
                </a:rPr>
                <a:t>Tekst</a:t>
              </a:r>
            </a:p>
          </p:txBody>
        </p:sp>
        <p:pic>
          <p:nvPicPr>
            <p:cNvPr id="281" name="Grafikk 280">
              <a:extLst>
                <a:ext uri="{FF2B5EF4-FFF2-40B4-BE49-F238E27FC236}">
                  <a16:creationId xmlns:a16="http://schemas.microsoft.com/office/drawing/2014/main" id="{A2E26658-4C4D-41E6-876F-A71D8C41F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9">
              <a:extLst>
                <a:ext uri="{96DAC541-7B7A-43D3-8B79-37D633B846F1}">
                  <asvg:svgBlip xmlns:asvg="http://schemas.microsoft.com/office/drawing/2016/SVG/main" r:embed="rId80"/>
                </a:ext>
              </a:extLst>
            </a:blip>
            <a:stretch>
              <a:fillRect/>
            </a:stretch>
          </p:blipFill>
          <p:spPr>
            <a:xfrm>
              <a:off x="7070008" y="2210346"/>
              <a:ext cx="180975" cy="4191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4206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</p:sldLayoutIdLst>
  <p:txStyles>
    <p:titleStyle>
      <a:lvl1pPr algn="l" defTabSz="1219078" rtl="0" eaLnBrk="1" latinLnBrk="0" hangingPunct="1">
        <a:lnSpc>
          <a:spcPct val="90000"/>
        </a:lnSpc>
        <a:spcBef>
          <a:spcPct val="0"/>
        </a:spcBef>
        <a:buNone/>
        <a:defRPr sz="497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2496" indent="-372496" algn="l" defTabSz="1219078" rtl="0" eaLnBrk="1" latinLnBrk="0" hangingPunct="1">
        <a:lnSpc>
          <a:spcPct val="90000"/>
        </a:lnSpc>
        <a:spcBef>
          <a:spcPts val="1333"/>
        </a:spcBef>
        <a:buClr>
          <a:srgbClr val="9EA0A4"/>
        </a:buClr>
        <a:buFont typeface="Calibri" panose="020F0502020204030204" pitchFamily="34" charset="0"/>
        <a:buChar char="•"/>
        <a:defRPr sz="3377" kern="1200">
          <a:solidFill>
            <a:schemeClr val="tx1"/>
          </a:solidFill>
          <a:latin typeface="+mn-lt"/>
          <a:ea typeface="+mn-ea"/>
          <a:cs typeface="+mn-cs"/>
        </a:defRPr>
      </a:lvl1pPr>
      <a:lvl2pPr marL="846582" indent="-169316" algn="l" defTabSz="1219078" rtl="0" eaLnBrk="1" latinLnBrk="0" hangingPunct="1">
        <a:lnSpc>
          <a:spcPct val="90000"/>
        </a:lnSpc>
        <a:spcBef>
          <a:spcPts val="667"/>
        </a:spcBef>
        <a:buFont typeface="Calibri" panose="020F0502020204030204" pitchFamily="34" charset="0"/>
        <a:buChar char="‐"/>
        <a:defRPr sz="2489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1523848" indent="-304770" algn="l" defTabSz="1219078" rtl="0" eaLnBrk="1" latinLnBrk="0" hangingPunct="1">
        <a:lnSpc>
          <a:spcPct val="90000"/>
        </a:lnSpc>
        <a:spcBef>
          <a:spcPts val="667"/>
        </a:spcBef>
        <a:buFont typeface="Calibri" panose="020F0502020204030204" pitchFamily="34" charset="0"/>
        <a:buChar char="‐"/>
        <a:defRPr sz="2489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lnSpc>
          <a:spcPct val="90000"/>
        </a:lnSpc>
        <a:spcBef>
          <a:spcPts val="667"/>
        </a:spcBef>
        <a:buFont typeface="Calibri" panose="020F0502020204030204" pitchFamily="34" charset="0"/>
        <a:buChar char="‐"/>
        <a:defRPr sz="2489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lnSpc>
          <a:spcPct val="90000"/>
        </a:lnSpc>
        <a:spcBef>
          <a:spcPts val="667"/>
        </a:spcBef>
        <a:buFont typeface="Calibri" panose="020F0502020204030204" pitchFamily="34" charset="0"/>
        <a:buChar char="‐"/>
        <a:defRPr sz="2489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9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prakradet.no/globalassets/vi-og-vart/rapporter-og-undersokelser/2020_bruk-av-og-behov-for-sprakteknologiske-losninger-i-offentlige-virksomheter.pdf" TargetMode="Externa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60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8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13" Type="http://schemas.openxmlformats.org/officeDocument/2006/relationships/image" Target="../media/image89.png"/><Relationship Id="rId3" Type="http://schemas.openxmlformats.org/officeDocument/2006/relationships/tags" Target="../tags/tag13.xml"/><Relationship Id="rId7" Type="http://schemas.openxmlformats.org/officeDocument/2006/relationships/image" Target="../media/image83.emf"/><Relationship Id="rId12" Type="http://schemas.openxmlformats.org/officeDocument/2006/relationships/image" Target="../media/image8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87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5.png"/><Relationship Id="rId14" Type="http://schemas.openxmlformats.org/officeDocument/2006/relationships/image" Target="../media/image90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13" Type="http://schemas.openxmlformats.org/officeDocument/2006/relationships/image" Target="../media/image89.png"/><Relationship Id="rId3" Type="http://schemas.openxmlformats.org/officeDocument/2006/relationships/tags" Target="../tags/tag130.xml"/><Relationship Id="rId7" Type="http://schemas.openxmlformats.org/officeDocument/2006/relationships/image" Target="../media/image83.emf"/><Relationship Id="rId12" Type="http://schemas.openxmlformats.org/officeDocument/2006/relationships/image" Target="../media/image88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100.bin"/><Relationship Id="rId11" Type="http://schemas.openxmlformats.org/officeDocument/2006/relationships/image" Target="../media/image87.png"/><Relationship Id="rId5" Type="http://schemas.openxmlformats.org/officeDocument/2006/relationships/notesSlide" Target="../notesSlides/notesSlide20.xml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4" Type="http://schemas.openxmlformats.org/officeDocument/2006/relationships/slideLayout" Target="../slideLayouts/slideLayout110.xml"/><Relationship Id="rId9" Type="http://schemas.openxmlformats.org/officeDocument/2006/relationships/image" Target="../media/image85.png"/><Relationship Id="rId14" Type="http://schemas.openxmlformats.org/officeDocument/2006/relationships/image" Target="../media/image9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13" Type="http://schemas.openxmlformats.org/officeDocument/2006/relationships/image" Target="../media/image89.png"/><Relationship Id="rId18" Type="http://schemas.openxmlformats.org/officeDocument/2006/relationships/image" Target="../media/image94.png"/><Relationship Id="rId3" Type="http://schemas.openxmlformats.org/officeDocument/2006/relationships/tags" Target="../tags/tag15.xml"/><Relationship Id="rId21" Type="http://schemas.openxmlformats.org/officeDocument/2006/relationships/image" Target="../media/image97.svg"/><Relationship Id="rId7" Type="http://schemas.openxmlformats.org/officeDocument/2006/relationships/image" Target="../media/image83.emf"/><Relationship Id="rId12" Type="http://schemas.openxmlformats.org/officeDocument/2006/relationships/image" Target="../media/image88.png"/><Relationship Id="rId17" Type="http://schemas.openxmlformats.org/officeDocument/2006/relationships/image" Target="../media/image93.svg"/><Relationship Id="rId2" Type="http://schemas.openxmlformats.org/officeDocument/2006/relationships/tags" Target="../tags/tag14.xml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87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19" Type="http://schemas.openxmlformats.org/officeDocument/2006/relationships/image" Target="../media/image95.sv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5.png"/><Relationship Id="rId14" Type="http://schemas.openxmlformats.org/officeDocument/2006/relationships/image" Target="../media/image9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4.png"/><Relationship Id="rId18" Type="http://schemas.openxmlformats.org/officeDocument/2006/relationships/image" Target="../media/image109.svg"/><Relationship Id="rId26" Type="http://schemas.openxmlformats.org/officeDocument/2006/relationships/image" Target="../media/image95.sv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112.png"/><Relationship Id="rId34" Type="http://schemas.openxmlformats.org/officeDocument/2006/relationships/image" Target="../media/image123.svg"/><Relationship Id="rId7" Type="http://schemas.openxmlformats.org/officeDocument/2006/relationships/image" Target="../media/image98.png"/><Relationship Id="rId12" Type="http://schemas.openxmlformats.org/officeDocument/2006/relationships/image" Target="../media/image103.svg"/><Relationship Id="rId17" Type="http://schemas.openxmlformats.org/officeDocument/2006/relationships/image" Target="../media/image108.png"/><Relationship Id="rId25" Type="http://schemas.openxmlformats.org/officeDocument/2006/relationships/image" Target="../media/image94.png"/><Relationship Id="rId33" Type="http://schemas.openxmlformats.org/officeDocument/2006/relationships/image" Target="../media/image122.png"/><Relationship Id="rId2" Type="http://schemas.openxmlformats.org/officeDocument/2006/relationships/tags" Target="../tags/tag16.xml"/><Relationship Id="rId16" Type="http://schemas.openxmlformats.org/officeDocument/2006/relationships/image" Target="../media/image107.svg"/><Relationship Id="rId20" Type="http://schemas.openxmlformats.org/officeDocument/2006/relationships/image" Target="../media/image111.svg"/><Relationship Id="rId29" Type="http://schemas.openxmlformats.org/officeDocument/2006/relationships/image" Target="../media/image118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102.png"/><Relationship Id="rId24" Type="http://schemas.openxmlformats.org/officeDocument/2006/relationships/image" Target="../media/image115.svg"/><Relationship Id="rId32" Type="http://schemas.openxmlformats.org/officeDocument/2006/relationships/image" Target="../media/image121.sv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106.png"/><Relationship Id="rId23" Type="http://schemas.openxmlformats.org/officeDocument/2006/relationships/image" Target="../media/image114.png"/><Relationship Id="rId28" Type="http://schemas.openxmlformats.org/officeDocument/2006/relationships/image" Target="../media/image117.svg"/><Relationship Id="rId36" Type="http://schemas.openxmlformats.org/officeDocument/2006/relationships/image" Target="../media/image125.svg"/><Relationship Id="rId10" Type="http://schemas.openxmlformats.org/officeDocument/2006/relationships/image" Target="../media/image101.svg"/><Relationship Id="rId19" Type="http://schemas.openxmlformats.org/officeDocument/2006/relationships/image" Target="../media/image110.png"/><Relationship Id="rId31" Type="http://schemas.openxmlformats.org/officeDocument/2006/relationships/image" Target="../media/image12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0.png"/><Relationship Id="rId14" Type="http://schemas.openxmlformats.org/officeDocument/2006/relationships/image" Target="../media/image105.svg"/><Relationship Id="rId22" Type="http://schemas.openxmlformats.org/officeDocument/2006/relationships/image" Target="../media/image113.svg"/><Relationship Id="rId27" Type="http://schemas.openxmlformats.org/officeDocument/2006/relationships/image" Target="../media/image116.png"/><Relationship Id="rId30" Type="http://schemas.openxmlformats.org/officeDocument/2006/relationships/image" Target="../media/image119.svg"/><Relationship Id="rId35" Type="http://schemas.openxmlformats.org/officeDocument/2006/relationships/image" Target="../media/image1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5B870F-416A-401A-A34B-B5CECF0C8E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42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5B870F-416A-401A-A34B-B5CECF0C8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tel 2">
            <a:extLst>
              <a:ext uri="{FF2B5EF4-FFF2-40B4-BE49-F238E27FC236}">
                <a16:creationId xmlns:a16="http://schemas.microsoft.com/office/drawing/2014/main" id="{B8C20A48-9FA4-4C14-A361-E46B3567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0016" y="4273876"/>
            <a:ext cx="6869292" cy="3197734"/>
          </a:xfrm>
        </p:spPr>
        <p:txBody>
          <a:bodyPr vert="horz" anchor="t"/>
          <a:lstStyle/>
          <a:p>
            <a:r>
              <a:rPr lang="nb-NO" b="1"/>
              <a:t>Prosjekt </a:t>
            </a:r>
            <a:br>
              <a:rPr lang="nb-NO" b="1"/>
            </a:br>
            <a:r>
              <a:rPr lang="nb-NO" b="1"/>
              <a:t>Deling av data</a:t>
            </a:r>
            <a:br>
              <a:rPr lang="nb-NO" b="1"/>
            </a:br>
            <a:br>
              <a:rPr lang="nb-NO" b="1"/>
            </a:br>
            <a:r>
              <a:rPr lang="nb-NO" sz="3600" b="0"/>
              <a:t>02.12.20</a:t>
            </a:r>
            <a:endParaRPr lang="nb-NO" b="0"/>
          </a:p>
        </p:txBody>
      </p:sp>
      <p:pic>
        <p:nvPicPr>
          <p:cNvPr id="84" name="Bilde 83">
            <a:extLst>
              <a:ext uri="{FF2B5EF4-FFF2-40B4-BE49-F238E27FC236}">
                <a16:creationId xmlns:a16="http://schemas.microsoft.com/office/drawing/2014/main" id="{D289E903-F992-4560-86CB-6B9F5111C0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2902" y="4273876"/>
            <a:ext cx="6049975" cy="2696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05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246AE6C-359B-4275-B08C-E7F0FAB89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279" y="1877801"/>
            <a:ext cx="13556180" cy="1753209"/>
          </a:xfrm>
        </p:spPr>
        <p:txBody>
          <a:bodyPr>
            <a:noAutofit/>
          </a:bodyPr>
          <a:lstStyle>
            <a:defPPr>
              <a:defRPr lang="nb-NO"/>
            </a:defPPr>
            <a:lvl1pPr marL="0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078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617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156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695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234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773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312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5333"/>
              <a:t>Hvorfor trenger vi en nasjonal verktøykasse for deling av data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2539F8D-E9CE-4C0F-9FF5-4C7C018669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279" y="3950269"/>
            <a:ext cx="13556180" cy="3498762"/>
          </a:xfrm>
        </p:spPr>
        <p:txBody>
          <a:bodyPr>
            <a:normAutofit/>
          </a:bodyPr>
          <a:lstStyle>
            <a:defPPr>
              <a:defRPr lang="nb-NO"/>
            </a:defPPr>
            <a:lvl1pPr marL="0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078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617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156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695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234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773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312" algn="l" defTabSz="1219078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2666"/>
              <a:t>Regjeringens digitaliseringsstrategi, offentlige og private virksomheter etterspør oversikt over, og tilgang til verktøy for deling av data. </a:t>
            </a:r>
          </a:p>
          <a:p>
            <a:pPr marL="0" indent="0">
              <a:buNone/>
            </a:pPr>
            <a:r>
              <a:rPr lang="nb-NO" sz="2666"/>
              <a:t>Verktøykassen skal være til hjelp for de som skal dele og bruke data enten det er mellom offentlige virksomheter, fra offentlig til privat eller frivillig sektor. </a:t>
            </a:r>
          </a:p>
        </p:txBody>
      </p:sp>
    </p:spTree>
    <p:extLst>
      <p:ext uri="{BB962C8B-B14F-4D97-AF65-F5344CB8AC3E}">
        <p14:creationId xmlns:p14="http://schemas.microsoft.com/office/powerpoint/2010/main" val="40337121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9F6B8A0-A054-4869-B539-47CF45E470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1600" y="590400"/>
            <a:ext cx="14244275" cy="887880"/>
          </a:xfrm>
        </p:spPr>
        <p:txBody>
          <a:bodyPr/>
          <a:lstStyle/>
          <a:p>
            <a:r>
              <a:rPr lang="nb-NO" sz="3600"/>
              <a:t>Hva er nettversjonen av nasjonal verktøykasse for deling av data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12DECA6-713A-448D-872B-8631C604E7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1600" y="2011680"/>
            <a:ext cx="14244275" cy="6219171"/>
          </a:xfrm>
        </p:spPr>
        <p:txBody>
          <a:bodyPr>
            <a:norm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nb-NO" sz="4000">
                <a:ea typeface="Yu Mincho" panose="02020400000000000000" pitchFamily="18" charset="-128"/>
              </a:rPr>
              <a:t>V</a:t>
            </a:r>
            <a:r>
              <a:rPr lang="nb-NO" sz="4000">
                <a:effectLst/>
                <a:ea typeface="Yu Mincho" panose="02020400000000000000" pitchFamily="18" charset="-128"/>
              </a:rPr>
              <a:t>erktøykassen presenteres som en brukertilpasset prosessveileder for hovedmålgruppene </a:t>
            </a:r>
            <a:r>
              <a:rPr lang="nb-NO" sz="4000" err="1">
                <a:effectLst/>
                <a:ea typeface="Yu Mincho" panose="02020400000000000000" pitchFamily="18" charset="-128"/>
              </a:rPr>
              <a:t>datakonsumenter</a:t>
            </a:r>
            <a:r>
              <a:rPr lang="nb-NO" sz="4000">
                <a:effectLst/>
                <a:ea typeface="Yu Mincho" panose="02020400000000000000" pitchFamily="18" charset="-128"/>
              </a:rPr>
              <a:t> og datatilbydere. </a:t>
            </a:r>
            <a:endParaRPr lang="nb-NO" sz="4000" i="1">
              <a:effectLst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br>
              <a:rPr lang="nb-NO" sz="3000" i="1">
                <a:effectLst/>
                <a:ea typeface="Yu Mincho" panose="02020400000000000000" pitchFamily="18" charset="-128"/>
                <a:cs typeface="Arial" panose="020B0604020202020204" pitchFamily="34" charset="0"/>
              </a:rPr>
            </a:br>
            <a:r>
              <a:rPr lang="nb-NO" sz="3000" i="1">
                <a:effectLst/>
                <a:ea typeface="Yu Mincho" panose="02020400000000000000" pitchFamily="18" charset="-128"/>
                <a:cs typeface="Arial" panose="020B0604020202020204" pitchFamily="34" charset="0"/>
              </a:rPr>
              <a:t>«Løsningen må utformes slik at det er enkelt å koble verktøy fra andre virksomheter og mellom ulike virksomheter. Løsningen vil innebære lenking til eksisterende sider og gruppering av sider, det inngår ikke i prosjektet å utarbeide nye beskrivelser av selve verktøyene. Eksempler på gruppering av sider er Torget for digitale fellesløsninger.»</a:t>
            </a: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962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B9037E-D8AB-4A22-857F-165B070A23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B9037E-D8AB-4A22-857F-165B070A2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205C765-31B3-47BD-96DF-08A7647FC3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92648" y="1481138"/>
            <a:ext cx="6541862" cy="692150"/>
          </a:xfrm>
        </p:spPr>
        <p:txBody>
          <a:bodyPr vert="horz"/>
          <a:lstStyle/>
          <a:p>
            <a:r>
              <a:rPr lang="nb-NO" b="1"/>
              <a:t>Agenda</a:t>
            </a: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2B0FE10D-46F9-4841-A9C1-45D423A29CC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7" r="20589"/>
          <a:stretch/>
        </p:blipFill>
        <p:spPr>
          <a:xfrm>
            <a:off x="-1" y="1"/>
            <a:ext cx="7871255" cy="914399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A3B9E9-A000-42D2-B978-0FFD27C654D4}"/>
              </a:ext>
            </a:extLst>
          </p:cNvPr>
          <p:cNvSpPr/>
          <p:nvPr/>
        </p:nvSpPr>
        <p:spPr>
          <a:xfrm>
            <a:off x="8797635" y="2669654"/>
            <a:ext cx="6444205" cy="921714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/>
              <a:t>Introduksjon til prosjekt Deling av da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A990EF8-5544-46FA-B6E7-510F4422C89B}"/>
              </a:ext>
            </a:extLst>
          </p:cNvPr>
          <p:cNvSpPr/>
          <p:nvPr/>
        </p:nvSpPr>
        <p:spPr>
          <a:xfrm>
            <a:off x="8797635" y="3856898"/>
            <a:ext cx="6444205" cy="921714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/>
              <a:t>Nasjonal verktøykasse for deling av data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4368B1F-DF94-4A51-8AC7-7A53D1119CE7}"/>
              </a:ext>
            </a:extLst>
          </p:cNvPr>
          <p:cNvSpPr/>
          <p:nvPr/>
        </p:nvSpPr>
        <p:spPr>
          <a:xfrm>
            <a:off x="8797634" y="5079250"/>
            <a:ext cx="6444205" cy="9217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400" b="1"/>
              <a:t>Veileder for deling av språkdata</a:t>
            </a:r>
          </a:p>
        </p:txBody>
      </p:sp>
    </p:spTree>
    <p:extLst>
      <p:ext uri="{BB962C8B-B14F-4D97-AF65-F5344CB8AC3E}">
        <p14:creationId xmlns:p14="http://schemas.microsoft.com/office/powerpoint/2010/main" val="107029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397526" y="1721638"/>
            <a:ext cx="11825085" cy="2207468"/>
          </a:xfrm>
        </p:spPr>
        <p:txBody>
          <a:bodyPr>
            <a:normAutofit fontScale="90000"/>
          </a:bodyPr>
          <a:lstStyle/>
          <a:p>
            <a:r>
              <a:rPr lang="nb-NO"/>
              <a:t>Veileder for innsamling av språkdata fra offentlig sektor:</a:t>
            </a:r>
            <a:br>
              <a:rPr lang="nb-NO"/>
            </a:br>
            <a:r>
              <a:rPr lang="nb-NO"/>
              <a:t>Et samarbeid mellom Digitaliseringsdirektoratet, Nasjonalbiblioteket og Språkrådet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528308" y="7361344"/>
            <a:ext cx="11825085" cy="1456123"/>
          </a:xfrm>
        </p:spPr>
        <p:txBody>
          <a:bodyPr/>
          <a:lstStyle/>
          <a:p>
            <a:r>
              <a:rPr lang="nb-NO"/>
              <a:t>Innføringsmøte i Informasjonsforvaltning 02.12.2020</a:t>
            </a:r>
          </a:p>
          <a:p>
            <a:pPr algn="r"/>
            <a:r>
              <a:rPr lang="nb-NO"/>
              <a:t>kristine.eide@sprakradet.no</a:t>
            </a:r>
          </a:p>
        </p:txBody>
      </p:sp>
    </p:spTree>
    <p:extLst>
      <p:ext uri="{BB962C8B-B14F-4D97-AF65-F5344CB8AC3E}">
        <p14:creationId xmlns:p14="http://schemas.microsoft.com/office/powerpoint/2010/main" val="31095389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akgrunn: Strategier, meldinger og rapporter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7492" y="3409358"/>
            <a:ext cx="4692994" cy="4643564"/>
          </a:xfrm>
        </p:spPr>
        <p:txBody>
          <a:bodyPr>
            <a:normAutofit lnSpcReduction="10000"/>
          </a:bodyPr>
          <a:lstStyle/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 b="1"/>
              <a:t>Språkmeldingen som følger </a:t>
            </a:r>
            <a:r>
              <a:rPr lang="nb-NO" b="1" err="1"/>
              <a:t>Prop</a:t>
            </a:r>
            <a:r>
              <a:rPr lang="nb-NO" b="1"/>
              <a:t>. 108, forslag til ny språklov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endParaRPr lang="nb-NO" b="1"/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 b="1" err="1"/>
              <a:t>Digitaliseringsstategien</a:t>
            </a:r>
            <a:r>
              <a:rPr lang="nb-NO" b="1"/>
              <a:t> 2019-2025 Én digital offentlig sektor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endParaRPr lang="nb-NO" b="1"/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 b="1"/>
              <a:t>Nasjonal strategi for kunstig intelligens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endParaRPr lang="nb-NO" b="1"/>
          </a:p>
          <a:p>
            <a:pPr marL="507949" indent="-507949">
              <a:buFont typeface="Arial" panose="020B0604020202020204" pitchFamily="34" charset="0"/>
              <a:buChar char="•"/>
            </a:pPr>
            <a:endParaRPr lang="nb-NO" b="1"/>
          </a:p>
          <a:p>
            <a:pPr marL="507949" indent="-507949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TekstSylinder 3"/>
          <p:cNvSpPr txBox="1"/>
          <p:nvPr/>
        </p:nvSpPr>
        <p:spPr>
          <a:xfrm>
            <a:off x="7794413" y="3409359"/>
            <a:ext cx="734251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07949" indent="-507949" defTabSz="1219078" fontAlgn="base">
              <a:buFont typeface="Arial" panose="020B0604020202020204" pitchFamily="34" charset="0"/>
              <a:buChar char="•"/>
            </a:pPr>
            <a:r>
              <a:rPr lang="nb-NO" sz="2400">
                <a:solidFill>
                  <a:prstClr val="black"/>
                </a:solidFill>
                <a:latin typeface="Calibri"/>
              </a:rPr>
              <a:t>Språkdata er data som kan og bør deles. </a:t>
            </a:r>
          </a:p>
          <a:p>
            <a:pPr marL="507949" indent="-507949" defTabSz="1219078" fontAlgn="base">
              <a:buFont typeface="Arial" panose="020B0604020202020204" pitchFamily="34" charset="0"/>
              <a:buChar char="•"/>
            </a:pPr>
            <a:r>
              <a:rPr lang="nb-NO" sz="2400">
                <a:solidFill>
                  <a:prstClr val="black"/>
                </a:solidFill>
                <a:latin typeface="Calibri"/>
              </a:rPr>
              <a:t>Infrastruktur som sikrer at språkteknologiske produkter fungerer på norsk er en forutsetning for at norsk skal kunne være et samfunnsbærende språk </a:t>
            </a:r>
          </a:p>
          <a:p>
            <a:pPr marL="507949" indent="-507949" defTabSz="1219078" fontAlgn="base">
              <a:buFont typeface="Arial" panose="020B0604020202020204" pitchFamily="34" charset="0"/>
              <a:buChar char="•"/>
            </a:pPr>
            <a:r>
              <a:rPr lang="nb-NO" sz="2400">
                <a:solidFill>
                  <a:prstClr val="black"/>
                </a:solidFill>
                <a:latin typeface="Calibri"/>
              </a:rPr>
              <a:t>Norske språkdata samles inn og </a:t>
            </a:r>
            <a:r>
              <a:rPr lang="nb-NO" sz="2400" err="1">
                <a:solidFill>
                  <a:prstClr val="black"/>
                </a:solidFill>
                <a:latin typeface="Calibri"/>
              </a:rPr>
              <a:t>tilgjengeliggjøres</a:t>
            </a:r>
            <a:r>
              <a:rPr lang="nb-NO" sz="2400">
                <a:solidFill>
                  <a:prstClr val="black"/>
                </a:solidFill>
                <a:latin typeface="Calibri"/>
              </a:rPr>
              <a:t> i Språkbanken.   </a:t>
            </a:r>
          </a:p>
          <a:p>
            <a:pPr marL="507949" indent="-507949" defTabSz="1219078" fontAlgn="base">
              <a:buFont typeface="Arial" panose="020B0604020202020204" pitchFamily="34" charset="0"/>
              <a:buChar char="•"/>
            </a:pPr>
            <a:r>
              <a:rPr lang="nb-NO" sz="2400">
                <a:solidFill>
                  <a:prstClr val="black"/>
                </a:solidFill>
                <a:latin typeface="Calibri"/>
              </a:rPr>
              <a:t>Offentlige språkdata egner seg godt til gjenbruk både på grunn av det generelle prinsippet om åpne data, og fordi slike data ofte ikke er belagt med restriksjoner. </a:t>
            </a:r>
          </a:p>
          <a:p>
            <a:pPr marL="507949" indent="-507949" defTabSz="1219078" fontAlgn="base">
              <a:buFont typeface="Arial" panose="020B0604020202020204" pitchFamily="34" charset="0"/>
              <a:buChar char="•"/>
            </a:pPr>
            <a:r>
              <a:rPr lang="nb-NO" sz="2400">
                <a:solidFill>
                  <a:prstClr val="black"/>
                </a:solidFill>
                <a:latin typeface="Calibri"/>
              </a:rPr>
              <a:t>Områdespesifikke data!</a:t>
            </a:r>
          </a:p>
        </p:txBody>
      </p:sp>
    </p:spTree>
    <p:extLst>
      <p:ext uri="{BB962C8B-B14F-4D97-AF65-F5344CB8AC3E}">
        <p14:creationId xmlns:p14="http://schemas.microsoft.com/office/powerpoint/2010/main" val="2849732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råkteknologi i offentlig sektor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7491" y="3409357"/>
            <a:ext cx="8597790" cy="4826236"/>
          </a:xfrm>
        </p:spPr>
        <p:txBody>
          <a:bodyPr>
            <a:normAutofit/>
          </a:bodyPr>
          <a:lstStyle/>
          <a:p>
            <a:r>
              <a:rPr lang="nb-NO"/>
              <a:t>En </a:t>
            </a:r>
            <a:r>
              <a:rPr lang="nb-NO" u="sng">
                <a:hlinkClick r:id="rId2"/>
              </a:rPr>
              <a:t>undersøkelse gjort av IPSOS</a:t>
            </a:r>
            <a:r>
              <a:rPr lang="nb-NO"/>
              <a:t> på vegne av Språkrådet og Digitaliseringsdirektoratet vinteren 2020 viser at: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/>
              <a:t>syv av ti offentlige virksomheter som bruker språkteknologiske løsninger har behov for nye eller flere løsninger. 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/>
              <a:t>Offentlige etater mener at språkteknologien effektiviserer og forbedrer tjenestene de tilbyr. 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/>
              <a:t>Halvparten av virksomhetene sa at de trengte bedre råd om språkteknologi. </a:t>
            </a:r>
          </a:p>
        </p:txBody>
      </p:sp>
      <p:sp>
        <p:nvSpPr>
          <p:cNvPr id="4" name="TekstSylinder 3"/>
          <p:cNvSpPr txBox="1"/>
          <p:nvPr/>
        </p:nvSpPr>
        <p:spPr>
          <a:xfrm>
            <a:off x="11247306" y="3409356"/>
            <a:ext cx="388961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/>
            <a:r>
              <a:rPr lang="nb-NO" sz="2400">
                <a:solidFill>
                  <a:prstClr val="black"/>
                </a:solidFill>
                <a:latin typeface="Calibri"/>
              </a:rPr>
              <a:t>Språkrådet er statens fagorgan i språkspørsmål og kan bistå offentlige etater med råd om norsk i språkteknologiske produkter.</a:t>
            </a:r>
          </a:p>
        </p:txBody>
      </p:sp>
    </p:spTree>
    <p:extLst>
      <p:ext uri="{BB962C8B-B14F-4D97-AF65-F5344CB8AC3E}">
        <p14:creationId xmlns:p14="http://schemas.microsoft.com/office/powerpoint/2010/main" val="23033666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Veildederen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7491" y="2692585"/>
            <a:ext cx="14019431" cy="4826236"/>
          </a:xfrm>
        </p:spPr>
        <p:txBody>
          <a:bodyPr>
            <a:normAutofit/>
          </a:bodyPr>
          <a:lstStyle/>
          <a:p>
            <a:pPr fontAlgn="base"/>
            <a:r>
              <a:rPr lang="nb-NO"/>
              <a:t>Forarbeid:</a:t>
            </a:r>
          </a:p>
          <a:p>
            <a:pPr fontAlgn="base"/>
            <a:r>
              <a:rPr lang="nb-NO"/>
              <a:t>Kartlegging av hvilke språkdata offentlige etater vil kunne levere, sett ut fra:</a:t>
            </a:r>
          </a:p>
          <a:p>
            <a:pPr marL="507949" indent="-507949" fontAlgn="base">
              <a:buFont typeface="Arial" panose="020B0604020202020204" pitchFamily="34" charset="0"/>
              <a:buChar char="•"/>
            </a:pPr>
            <a:r>
              <a:rPr lang="nb-NO"/>
              <a:t>	kostnadene det vil medføre å tilrettelegge dem for gjenbruk </a:t>
            </a:r>
          </a:p>
          <a:p>
            <a:pPr marL="507949" indent="-507949" fontAlgn="base">
              <a:buFont typeface="Arial" panose="020B0604020202020204" pitchFamily="34" charset="0"/>
              <a:buChar char="•"/>
            </a:pPr>
            <a:r>
              <a:rPr lang="nb-NO"/>
              <a:t>	mulig nytteverdi for språkteknologi. </a:t>
            </a:r>
          </a:p>
          <a:p>
            <a:pPr fontAlgn="base"/>
            <a:r>
              <a:rPr lang="nb-NO"/>
              <a:t>Prinsipper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/>
              <a:t>Enkel å bruke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/>
              <a:t>Tilrettelagt for så mye automatisk innsamling som mulig</a:t>
            </a:r>
          </a:p>
          <a:p>
            <a:pPr marL="507949" indent="-507949">
              <a:buFont typeface="Arial" panose="020B0604020202020204" pitchFamily="34" charset="0"/>
              <a:buChar char="•"/>
            </a:pPr>
            <a:r>
              <a:rPr lang="nb-NO"/>
              <a:t>Samle inn kun én gang eller ved én prosess</a:t>
            </a:r>
          </a:p>
          <a:p>
            <a:pPr marL="507949" indent="-507949" fontAlgn="base">
              <a:buFont typeface="Arial" panose="020B0604020202020204" pitchFamily="34" charset="0"/>
              <a:buChar char="•"/>
            </a:pPr>
            <a:endParaRPr lang="nb-NO"/>
          </a:p>
          <a:p>
            <a:pPr marL="507949" indent="-507949" fontAlgn="base">
              <a:buFont typeface="Arial" panose="020B0604020202020204" pitchFamily="34" charset="0"/>
              <a:buChar char="•"/>
            </a:pPr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19136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iledere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17491" y="3409357"/>
            <a:ext cx="7738361" cy="4826236"/>
          </a:xfrm>
        </p:spPr>
        <p:txBody>
          <a:bodyPr/>
          <a:lstStyle/>
          <a:p>
            <a:r>
              <a:rPr lang="nb-NO" b="1"/>
              <a:t>Innhold: </a:t>
            </a:r>
          </a:p>
          <a:p>
            <a:endParaRPr lang="nb-NO" b="1"/>
          </a:p>
          <a:p>
            <a:r>
              <a:rPr lang="nb-NO" b="1"/>
              <a:t>Oversettelser og oversettelsesminner</a:t>
            </a:r>
          </a:p>
          <a:p>
            <a:r>
              <a:rPr lang="nb-NO" b="1"/>
              <a:t>Begrepsapparat, termlister og ordlister</a:t>
            </a:r>
            <a:r>
              <a:rPr lang="nb-NO"/>
              <a:t> </a:t>
            </a:r>
          </a:p>
          <a:p>
            <a:r>
              <a:rPr lang="nb-NO" b="1"/>
              <a:t>Data fra språkteknologiske utviklingsprosjekter</a:t>
            </a:r>
            <a:r>
              <a:rPr lang="nb-NO"/>
              <a:t> </a:t>
            </a:r>
          </a:p>
          <a:p>
            <a:r>
              <a:rPr lang="nb-NO" b="1"/>
              <a:t>Offentlig, publisert tekst</a:t>
            </a:r>
            <a:r>
              <a:rPr lang="nb-NO"/>
              <a:t> </a:t>
            </a:r>
          </a:p>
          <a:p>
            <a:endParaRPr lang="nb-NO"/>
          </a:p>
        </p:txBody>
      </p:sp>
      <p:sp>
        <p:nvSpPr>
          <p:cNvPr id="4" name="TekstSylinder 3"/>
          <p:cNvSpPr txBox="1"/>
          <p:nvPr/>
        </p:nvSpPr>
        <p:spPr>
          <a:xfrm>
            <a:off x="9528451" y="3409356"/>
            <a:ext cx="54403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78"/>
            <a:r>
              <a:rPr lang="nb-NO" sz="2400" b="1">
                <a:solidFill>
                  <a:prstClr val="black"/>
                </a:solidFill>
                <a:latin typeface="Calibri"/>
              </a:rPr>
              <a:t>FOKUS:</a:t>
            </a:r>
          </a:p>
          <a:p>
            <a:pPr defTabSz="1219078"/>
            <a:endParaRPr lang="nb-NO" sz="2400" b="1">
              <a:solidFill>
                <a:prstClr val="black"/>
              </a:solidFill>
              <a:latin typeface="Calibri"/>
            </a:endParaRPr>
          </a:p>
          <a:p>
            <a:pPr defTabSz="1219078"/>
            <a:r>
              <a:rPr lang="nb-NO" sz="2400" b="1">
                <a:solidFill>
                  <a:prstClr val="black"/>
                </a:solidFill>
                <a:latin typeface="Calibri"/>
              </a:rPr>
              <a:t>Områdespesifikke data</a:t>
            </a:r>
          </a:p>
        </p:txBody>
      </p:sp>
    </p:spTree>
    <p:extLst>
      <p:ext uri="{BB962C8B-B14F-4D97-AF65-F5344CB8AC3E}">
        <p14:creationId xmlns:p14="http://schemas.microsoft.com/office/powerpoint/2010/main" val="8636642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/>
              <a:t>Takk for oppmerksomheten!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397526" y="5511705"/>
            <a:ext cx="11825085" cy="2424721"/>
          </a:xfrm>
        </p:spPr>
        <p:txBody>
          <a:bodyPr>
            <a:normAutofit/>
          </a:bodyPr>
          <a:lstStyle/>
          <a:p>
            <a:r>
              <a:rPr lang="nb-NO"/>
              <a:t>«Kan roboten egentlig snakke?»</a:t>
            </a:r>
          </a:p>
          <a:p>
            <a:pPr marL="507949" indent="-507949">
              <a:buFontTx/>
              <a:buChar char="-"/>
            </a:pPr>
            <a:r>
              <a:rPr lang="nb-NO"/>
              <a:t>om bruk av språkteknologi i offentlig sektor</a:t>
            </a:r>
          </a:p>
          <a:p>
            <a:pPr marL="507949" indent="-507949">
              <a:buFontTx/>
              <a:buChar char="-"/>
            </a:pPr>
            <a:r>
              <a:rPr lang="nb-NO"/>
              <a:t>er utsatt til 2021</a:t>
            </a:r>
          </a:p>
        </p:txBody>
      </p:sp>
    </p:spTree>
    <p:extLst>
      <p:ext uri="{BB962C8B-B14F-4D97-AF65-F5344CB8AC3E}">
        <p14:creationId xmlns:p14="http://schemas.microsoft.com/office/powerpoint/2010/main" val="22289478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8429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FEB76C93-9411-4AB0-8669-FE8336203E53}"/>
              </a:ext>
            </a:extLst>
          </p:cNvPr>
          <p:cNvSpPr/>
          <p:nvPr/>
        </p:nvSpPr>
        <p:spPr>
          <a:xfrm>
            <a:off x="2015163" y="1941095"/>
            <a:ext cx="12224085" cy="5358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err="1"/>
              <a:t>En</a:t>
            </a:r>
            <a:r>
              <a:rPr lang="en-US" sz="4000"/>
              <a:t> </a:t>
            </a:r>
            <a:r>
              <a:rPr lang="en-US" sz="4000" err="1"/>
              <a:t>liten</a:t>
            </a:r>
            <a:r>
              <a:rPr lang="en-US" sz="4000"/>
              <a:t> </a:t>
            </a:r>
            <a:r>
              <a:rPr lang="en-US" sz="4000" err="1"/>
              <a:t>oppvarmingsøvelse</a:t>
            </a:r>
            <a:r>
              <a:rPr lang="en-US" sz="4000"/>
              <a:t> </a:t>
            </a:r>
            <a:r>
              <a:rPr lang="en-US" sz="4000" err="1"/>
              <a:t>før</a:t>
            </a:r>
            <a:r>
              <a:rPr lang="en-US" sz="4000"/>
              <a:t> vi </a:t>
            </a:r>
            <a:r>
              <a:rPr lang="en-US" sz="4000" err="1"/>
              <a:t>kommer</a:t>
            </a:r>
            <a:r>
              <a:rPr lang="en-US" sz="4000"/>
              <a:t> </a:t>
            </a:r>
            <a:r>
              <a:rPr lang="en-US" sz="4000" err="1"/>
              <a:t>i</a:t>
            </a:r>
            <a:r>
              <a:rPr lang="en-US" sz="4000"/>
              <a:t> gang: </a:t>
            </a:r>
          </a:p>
          <a:p>
            <a:pPr algn="ctr"/>
            <a:endParaRPr lang="en-US" sz="4000"/>
          </a:p>
          <a:p>
            <a:pPr algn="ctr"/>
            <a:r>
              <a:rPr lang="en-US" sz="4000" err="1"/>
              <a:t>Åpne</a:t>
            </a:r>
            <a:r>
              <a:rPr lang="en-US" sz="4000"/>
              <a:t> </a:t>
            </a:r>
          </a:p>
          <a:p>
            <a:pPr algn="ctr"/>
            <a:r>
              <a:rPr lang="en-US" sz="4000"/>
              <a:t>www.menti.com </a:t>
            </a:r>
          </a:p>
          <a:p>
            <a:pPr algn="ctr"/>
            <a:r>
              <a:rPr lang="en-US" sz="4000" err="1"/>
              <a:t>og</a:t>
            </a:r>
            <a:r>
              <a:rPr lang="en-US" sz="4000"/>
              <a:t> </a:t>
            </a:r>
            <a:r>
              <a:rPr lang="en-US" sz="4000" err="1"/>
              <a:t>skriv</a:t>
            </a:r>
            <a:r>
              <a:rPr lang="en-US" sz="4000"/>
              <a:t> inn </a:t>
            </a:r>
            <a:r>
              <a:rPr lang="en-US" sz="4000" err="1"/>
              <a:t>koden</a:t>
            </a:r>
            <a:endParaRPr lang="en-US" sz="4000"/>
          </a:p>
          <a:p>
            <a:pPr algn="ctr"/>
            <a:r>
              <a:rPr lang="en-US" sz="4000"/>
              <a:t> </a:t>
            </a:r>
          </a:p>
          <a:p>
            <a:pPr algn="ctr"/>
            <a:r>
              <a:rPr lang="en-US" sz="4000"/>
              <a:t>2993095</a:t>
            </a:r>
            <a:endParaRPr lang="nb-NO" sz="4000"/>
          </a:p>
        </p:txBody>
      </p:sp>
    </p:spTree>
    <p:extLst>
      <p:ext uri="{BB962C8B-B14F-4D97-AF65-F5344CB8AC3E}">
        <p14:creationId xmlns:p14="http://schemas.microsoft.com/office/powerpoint/2010/main" val="6339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B9037E-D8AB-4A22-857F-165B070A23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B9037E-D8AB-4A22-857F-165B070A2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205C765-31B3-47BD-96DF-08A7647FC3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92648" y="1481138"/>
            <a:ext cx="6541862" cy="692150"/>
          </a:xfrm>
        </p:spPr>
        <p:txBody>
          <a:bodyPr vert="horz"/>
          <a:lstStyle/>
          <a:p>
            <a:r>
              <a:rPr lang="nb-NO" b="1"/>
              <a:t>Agenda</a:t>
            </a: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2B0FE10D-46F9-4841-A9C1-45D423A29CC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7" r="20589"/>
          <a:stretch/>
        </p:blipFill>
        <p:spPr>
          <a:xfrm>
            <a:off x="-1" y="1"/>
            <a:ext cx="7871255" cy="914399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A3B9E9-A000-42D2-B978-0FFD27C654D4}"/>
              </a:ext>
            </a:extLst>
          </p:cNvPr>
          <p:cNvSpPr/>
          <p:nvPr/>
        </p:nvSpPr>
        <p:spPr>
          <a:xfrm>
            <a:off x="8797635" y="2669654"/>
            <a:ext cx="6444205" cy="9217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/>
              <a:t>Introduksjon til prosjekt Deling av da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A990EF8-5544-46FA-B6E7-510F4422C89B}"/>
              </a:ext>
            </a:extLst>
          </p:cNvPr>
          <p:cNvSpPr/>
          <p:nvPr/>
        </p:nvSpPr>
        <p:spPr>
          <a:xfrm>
            <a:off x="8797635" y="3856898"/>
            <a:ext cx="6444205" cy="9217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/>
              <a:t>Nasjonal verktøykasse for deling av data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4368B1F-DF94-4A51-8AC7-7A53D1119CE7}"/>
              </a:ext>
            </a:extLst>
          </p:cNvPr>
          <p:cNvSpPr/>
          <p:nvPr/>
        </p:nvSpPr>
        <p:spPr>
          <a:xfrm>
            <a:off x="8797634" y="5053942"/>
            <a:ext cx="6444205" cy="9217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400"/>
              <a:t>Veileder for deling av språkdata</a:t>
            </a:r>
          </a:p>
        </p:txBody>
      </p:sp>
    </p:spTree>
    <p:extLst>
      <p:ext uri="{BB962C8B-B14F-4D97-AF65-F5344CB8AC3E}">
        <p14:creationId xmlns:p14="http://schemas.microsoft.com/office/powerpoint/2010/main" val="285827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B9037E-D8AB-4A22-857F-165B070A23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B9037E-D8AB-4A22-857F-165B070A2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205C765-31B3-47BD-96DF-08A7647FC3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92648" y="1481138"/>
            <a:ext cx="6541862" cy="692150"/>
          </a:xfrm>
        </p:spPr>
        <p:txBody>
          <a:bodyPr vert="horz"/>
          <a:lstStyle/>
          <a:p>
            <a:r>
              <a:rPr lang="nb-NO" b="1"/>
              <a:t>Agenda</a:t>
            </a: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2B0FE10D-46F9-4841-A9C1-45D423A29CC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7" r="20589"/>
          <a:stretch/>
        </p:blipFill>
        <p:spPr>
          <a:xfrm>
            <a:off x="-1" y="1"/>
            <a:ext cx="7871255" cy="914399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A3B9E9-A000-42D2-B978-0FFD27C654D4}"/>
              </a:ext>
            </a:extLst>
          </p:cNvPr>
          <p:cNvSpPr/>
          <p:nvPr/>
        </p:nvSpPr>
        <p:spPr>
          <a:xfrm>
            <a:off x="8797635" y="2669654"/>
            <a:ext cx="6444205" cy="9217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b="1"/>
              <a:t>Introduksjon til prosjekt Deling av da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A990EF8-5544-46FA-B6E7-510F4422C89B}"/>
              </a:ext>
            </a:extLst>
          </p:cNvPr>
          <p:cNvSpPr/>
          <p:nvPr/>
        </p:nvSpPr>
        <p:spPr>
          <a:xfrm>
            <a:off x="8797635" y="3856898"/>
            <a:ext cx="6444205" cy="921714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/>
              <a:t>Nasjonal verktøykasse for deling av data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4368B1F-DF94-4A51-8AC7-7A53D1119CE7}"/>
              </a:ext>
            </a:extLst>
          </p:cNvPr>
          <p:cNvSpPr/>
          <p:nvPr/>
        </p:nvSpPr>
        <p:spPr>
          <a:xfrm>
            <a:off x="8797634" y="5129098"/>
            <a:ext cx="6444205" cy="921714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400"/>
              <a:t>Veileder for deling av språkdata</a:t>
            </a:r>
          </a:p>
        </p:txBody>
      </p:sp>
    </p:spTree>
    <p:extLst>
      <p:ext uri="{BB962C8B-B14F-4D97-AF65-F5344CB8AC3E}">
        <p14:creationId xmlns:p14="http://schemas.microsoft.com/office/powerpoint/2010/main" val="1445754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7FDA0C-8D72-4048-8FFD-1AC4E355DC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7FDA0C-8D72-4048-8FFD-1AC4E355DC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4">
            <a:extLst>
              <a:ext uri="{FF2B5EF4-FFF2-40B4-BE49-F238E27FC236}">
                <a16:creationId xmlns:a16="http://schemas.microsoft.com/office/drawing/2014/main" id="{0E333383-C413-47B3-BFA2-41CE31F6CB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0570" y="590616"/>
            <a:ext cx="14245305" cy="1225484"/>
          </a:xfrm>
        </p:spPr>
        <p:txBody>
          <a:bodyPr vert="horz" anchor="t"/>
          <a:lstStyle/>
          <a:p>
            <a:r>
              <a:rPr lang="nb-NO"/>
              <a:t>Deling av data er et av innsatsområdene i regjeringens digitaliseringsstrategi</a:t>
            </a:r>
            <a:endParaRPr lang="nb-NO" sz="3600"/>
          </a:p>
        </p:txBody>
      </p:sp>
      <p:pic>
        <p:nvPicPr>
          <p:cNvPr id="9" name="Bilde 5">
            <a:extLst>
              <a:ext uri="{FF2B5EF4-FFF2-40B4-BE49-F238E27FC236}">
                <a16:creationId xmlns:a16="http://schemas.microsoft.com/office/drawing/2014/main" id="{64655019-68FF-4913-8F1B-A94DAC5B42F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4104" y="2860844"/>
            <a:ext cx="3120696" cy="43875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EBBD30DD-6443-4C33-9044-67AF0D284F44}"/>
              </a:ext>
            </a:extLst>
          </p:cNvPr>
          <p:cNvSpPr/>
          <p:nvPr/>
        </p:nvSpPr>
        <p:spPr>
          <a:xfrm rot="5400000">
            <a:off x="4329020" y="4794274"/>
            <a:ext cx="4183377" cy="520649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018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Slide Zoom 4">
                <a:extLst>
                  <a:ext uri="{FF2B5EF4-FFF2-40B4-BE49-F238E27FC236}">
                    <a16:creationId xmlns:a16="http://schemas.microsoft.com/office/drawing/2014/main" id="{9333C51F-767C-419F-B611-59621245E03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485903255"/>
                  </p:ext>
                </p:extLst>
              </p:nvPr>
            </p:nvGraphicFramePr>
            <p:xfrm>
              <a:off x="7453237" y="2860844"/>
              <a:ext cx="7799259" cy="4387512"/>
            </p:xfrm>
            <a:graphic>
              <a:graphicData uri="http://schemas.microsoft.com/office/powerpoint/2016/slidezoom">
                <pslz:sldZm>
                  <pslz:sldZmObj sldId="2147195948" cId="34547644">
                    <pslz:zmPr id="{E821CAE8-A231-4E75-9C71-B6531DD23178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7799259" cy="438751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Slide Zoom 4">
                <a:hlinkClick r:id="rId8" action="ppaction://hlinksldjump"/>
                <a:extLst>
                  <a:ext uri="{FF2B5EF4-FFF2-40B4-BE49-F238E27FC236}">
                    <a16:creationId xmlns:a16="http://schemas.microsoft.com/office/drawing/2014/main" id="{9333C51F-767C-419F-B611-59621245E03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453237" y="2860844"/>
                <a:ext cx="7799259" cy="438751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4321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E3959C-3BF9-4E9C-B180-54C189B899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564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E3959C-3BF9-4E9C-B180-54C189B89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8" name="Picture 147">
            <a:extLst>
              <a:ext uri="{FF2B5EF4-FFF2-40B4-BE49-F238E27FC236}">
                <a16:creationId xmlns:a16="http://schemas.microsoft.com/office/drawing/2014/main" id="{5F161E53-F357-4422-B334-8C81E4921DF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06"/>
          <a:stretch/>
        </p:blipFill>
        <p:spPr>
          <a:xfrm>
            <a:off x="0" y="0"/>
            <a:ext cx="16254410" cy="9144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EF749B7-BF57-468A-BF5B-FD8D28EDFB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46"/>
            <a:ext cx="211646" cy="2116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219078">
              <a:defRPr/>
            </a:pPr>
            <a:endParaRPr lang="nb-NO" sz="4266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3E91DD3-902C-4AD0-98F6-136F8AE12A77}"/>
              </a:ext>
            </a:extLst>
          </p:cNvPr>
          <p:cNvSpPr/>
          <p:nvPr/>
        </p:nvSpPr>
        <p:spPr>
          <a:xfrm>
            <a:off x="6228000" y="5591141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5. CERT-funksjon for økosystem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D7A5C28-8DE2-4D78-A769-FDAD304468D4}"/>
              </a:ext>
            </a:extLst>
          </p:cNvPr>
          <p:cNvSpPr/>
          <p:nvPr/>
        </p:nvSpPr>
        <p:spPr>
          <a:xfrm>
            <a:off x="131697" y="3553777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2.9. Utvikle felles prinsipper for god brukskvalitet i digitale tjeneste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E1BEE46-C137-4CC5-9F42-888D7C32B14E}"/>
              </a:ext>
            </a:extLst>
          </p:cNvPr>
          <p:cNvSpPr/>
          <p:nvPr/>
        </p:nvSpPr>
        <p:spPr>
          <a:xfrm>
            <a:off x="131697" y="4213958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2.10. Utrede konsept for personlig tilgang til egne data, informasjon og tjenester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8207150-2B89-44DB-8291-7EC7E89E9699}"/>
              </a:ext>
            </a:extLst>
          </p:cNvPr>
          <p:cNvSpPr/>
          <p:nvPr/>
        </p:nvSpPr>
        <p:spPr>
          <a:xfrm>
            <a:off x="2152800" y="3549013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C32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2. Datasjøer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D43037A-051D-4D72-ABC1-2B060B92AB7B}"/>
              </a:ext>
            </a:extLst>
          </p:cNvPr>
          <p:cNvSpPr/>
          <p:nvPr/>
        </p:nvSpPr>
        <p:spPr>
          <a:xfrm>
            <a:off x="6226678" y="2891038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1. Etablere arenaer for samordn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1F83F26-9576-4732-A48E-29945BCB7A97}"/>
              </a:ext>
            </a:extLst>
          </p:cNvPr>
          <p:cNvSpPr/>
          <p:nvPr/>
        </p:nvSpPr>
        <p:spPr>
          <a:xfrm>
            <a:off x="4147200" y="4901590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4. Digitaliseringsvennlig regelverk – omtale i </a:t>
            </a:r>
            <a:r>
              <a:rPr lang="nb-NO" sz="800" err="1">
                <a:solidFill>
                  <a:srgbClr val="23344F"/>
                </a:solidFill>
                <a:latin typeface="Arial" panose="020B0604020202020204"/>
              </a:rPr>
              <a:t>Lovteknikk</a:t>
            </a: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 og lovforberedels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842C5C6-BD34-4612-BA23-3EC5EEE23A26}"/>
              </a:ext>
            </a:extLst>
          </p:cNvPr>
          <p:cNvSpPr/>
          <p:nvPr/>
        </p:nvSpPr>
        <p:spPr>
          <a:xfrm>
            <a:off x="8218800" y="3553713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2. Strategisk styring av digitaliseringen – veileder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96DE596-2473-4C0E-9C3F-C47BEA2AA93F}"/>
              </a:ext>
            </a:extLst>
          </p:cNvPr>
          <p:cNvSpPr/>
          <p:nvPr/>
        </p:nvSpPr>
        <p:spPr>
          <a:xfrm>
            <a:off x="8218800" y="4206482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47995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3. Kompetansebygging, erfaringsoverføring og bistand til gevinstrealisering – veiledning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22ADC88-8E94-4C20-B2B9-71B668AF1C6D}"/>
              </a:ext>
            </a:extLst>
          </p:cNvPr>
          <p:cNvSpPr/>
          <p:nvPr/>
        </p:nvSpPr>
        <p:spPr>
          <a:xfrm>
            <a:off x="10364400" y="3546783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7.2. Etablere program for økt samhandl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E305A99-84F2-4678-B051-7A831FDA2B87}"/>
              </a:ext>
            </a:extLst>
          </p:cNvPr>
          <p:cNvSpPr/>
          <p:nvPr/>
        </p:nvSpPr>
        <p:spPr>
          <a:xfrm>
            <a:off x="12353318" y="2881828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8.1. Strategi for digital kompetans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64EF941-5D78-4FC8-BE94-C4A9AF41D2D9}"/>
              </a:ext>
            </a:extLst>
          </p:cNvPr>
          <p:cNvSpPr/>
          <p:nvPr/>
        </p:nvSpPr>
        <p:spPr>
          <a:xfrm>
            <a:off x="6228569" y="4886529"/>
            <a:ext cx="1691789" cy="49906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4. e-ID og e-Signatur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19223CE-51F6-49C4-867E-66A719B22BE1}"/>
              </a:ext>
            </a:extLst>
          </p:cNvPr>
          <p:cNvSpPr/>
          <p:nvPr/>
        </p:nvSpPr>
        <p:spPr>
          <a:xfrm>
            <a:off x="14346273" y="2881828"/>
            <a:ext cx="1697310" cy="490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9. Digital sikkerhe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59335D1-564E-4F55-AC6A-1F028733F9A3}"/>
              </a:ext>
            </a:extLst>
          </p:cNvPr>
          <p:cNvSpPr/>
          <p:nvPr/>
        </p:nvSpPr>
        <p:spPr>
          <a:xfrm>
            <a:off x="2153284" y="5554746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5. Nasjonal strategi for</a:t>
            </a:r>
          </a:p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kunstig intelligen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291BF70-C284-4C22-80A1-895F7191C6A1}"/>
              </a:ext>
            </a:extLst>
          </p:cNvPr>
          <p:cNvSpPr/>
          <p:nvPr/>
        </p:nvSpPr>
        <p:spPr>
          <a:xfrm>
            <a:off x="8219632" y="2882862"/>
            <a:ext cx="1691789" cy="49186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1. Forsterke og videreutvikle Skates manda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7DFEBC-D236-4E43-9E2E-205F99B6D0CC}"/>
              </a:ext>
            </a:extLst>
          </p:cNvPr>
          <p:cNvSpPr/>
          <p:nvPr/>
        </p:nvSpPr>
        <p:spPr>
          <a:xfrm>
            <a:off x="8218800" y="4864964"/>
            <a:ext cx="1685434" cy="5206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4. Prinsipper for kostnadsdeling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3431FFF-22B3-4D3C-8B67-4BEB25A4B1F1}"/>
              </a:ext>
            </a:extLst>
          </p:cNvPr>
          <p:cNvSpPr/>
          <p:nvPr/>
        </p:nvSpPr>
        <p:spPr>
          <a:xfrm>
            <a:off x="8218800" y="5555208"/>
            <a:ext cx="1697312" cy="5206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47995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5. Felles prinsipper for involvering av kommunal sektor i statlige beslutninger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FFEED0E-2958-4F8A-AF08-6932CD9DB216}"/>
              </a:ext>
            </a:extLst>
          </p:cNvPr>
          <p:cNvSpPr/>
          <p:nvPr/>
        </p:nvSpPr>
        <p:spPr>
          <a:xfrm>
            <a:off x="8218800" y="6245451"/>
            <a:ext cx="1697312" cy="5211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6. Etablere arenaer innenfor konsultasjonsordninge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39FAF58-C5D7-476B-9694-7AD9B4CDD51C}"/>
              </a:ext>
            </a:extLst>
          </p:cNvPr>
          <p:cNvSpPr/>
          <p:nvPr/>
        </p:nvSpPr>
        <p:spPr>
          <a:xfrm>
            <a:off x="8218800" y="6936197"/>
            <a:ext cx="1697312" cy="52062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7. Samstyringsmodell – statlig og kommunal sektor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006856C-1BE4-4315-BA77-6F2D8F0B5998}"/>
              </a:ext>
            </a:extLst>
          </p:cNvPr>
          <p:cNvSpPr/>
          <p:nvPr/>
        </p:nvSpPr>
        <p:spPr>
          <a:xfrm>
            <a:off x="2153284" y="2882861"/>
            <a:ext cx="1697312" cy="4819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1. Nasjonalt ressurssenter for deling av data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A160DC3-E977-4A5B-A193-2E4A8E99FDC1}"/>
              </a:ext>
            </a:extLst>
          </p:cNvPr>
          <p:cNvSpPr/>
          <p:nvPr/>
        </p:nvSpPr>
        <p:spPr>
          <a:xfrm>
            <a:off x="6228000" y="3549942"/>
            <a:ext cx="1697312" cy="4757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2. Koordinering av statlige og kommunale interesser i felles økosystem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3BB1826-FF35-4CEC-939B-DA485225FE84}"/>
              </a:ext>
            </a:extLst>
          </p:cNvPr>
          <p:cNvSpPr/>
          <p:nvPr/>
        </p:nvSpPr>
        <p:spPr>
          <a:xfrm>
            <a:off x="6228000" y="4214003"/>
            <a:ext cx="1697312" cy="48427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3. Styring av nasjonale fellesløsninger gjennom tildelingsbrev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AA1C5C7-2FE4-47DB-9AEF-2E69E4F29AD6}"/>
              </a:ext>
            </a:extLst>
          </p:cNvPr>
          <p:cNvSpPr/>
          <p:nvPr/>
        </p:nvSpPr>
        <p:spPr>
          <a:xfrm>
            <a:off x="10365888" y="2872939"/>
            <a:ext cx="1691789" cy="49186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7.1. Felles prinsipper for samarbeid med privat sekto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6753BBA-CEB5-4D8C-BE1D-8167214A0CE1}"/>
              </a:ext>
            </a:extLst>
          </p:cNvPr>
          <p:cNvSpPr/>
          <p:nvPr/>
        </p:nvSpPr>
        <p:spPr>
          <a:xfrm>
            <a:off x="4147200" y="4210156"/>
            <a:ext cx="1698674" cy="4878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3. Digitaliseringsvennlig regelverk – veileder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E8F0B9D-EC65-4721-A762-20B365E596AE}"/>
              </a:ext>
            </a:extLst>
          </p:cNvPr>
          <p:cNvSpPr/>
          <p:nvPr/>
        </p:nvSpPr>
        <p:spPr>
          <a:xfrm>
            <a:off x="131697" y="2885431"/>
            <a:ext cx="1697312" cy="4819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2.8. Utvikle metoder og samle kunnskap om sammen-hengende tjenester</a:t>
            </a:r>
          </a:p>
        </p:txBody>
      </p:sp>
      <p:sp>
        <p:nvSpPr>
          <p:cNvPr id="72" name="Rectangle 52">
            <a:extLst>
              <a:ext uri="{FF2B5EF4-FFF2-40B4-BE49-F238E27FC236}">
                <a16:creationId xmlns:a16="http://schemas.microsoft.com/office/drawing/2014/main" id="{C13074A2-E087-4E7A-8364-68AA5892974F}"/>
              </a:ext>
            </a:extLst>
          </p:cNvPr>
          <p:cNvSpPr/>
          <p:nvPr/>
        </p:nvSpPr>
        <p:spPr>
          <a:xfrm>
            <a:off x="4452260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Klart og digitaliserings-vennlig regelverk</a:t>
            </a:r>
          </a:p>
        </p:txBody>
      </p:sp>
      <p:sp>
        <p:nvSpPr>
          <p:cNvPr id="73" name="Rectangle 55">
            <a:extLst>
              <a:ext uri="{FF2B5EF4-FFF2-40B4-BE49-F238E27FC236}">
                <a16:creationId xmlns:a16="http://schemas.microsoft.com/office/drawing/2014/main" id="{DC899187-2EFD-4045-A331-B6854D87FBE3}"/>
              </a:ext>
            </a:extLst>
          </p:cNvPr>
          <p:cNvSpPr/>
          <p:nvPr/>
        </p:nvSpPr>
        <p:spPr>
          <a:xfrm>
            <a:off x="6487517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Felles økosystem for nasjonal digital samhandling og tjenesteutvikling</a:t>
            </a: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76E1E832-6A57-4612-9609-86F3EA2579CA}"/>
              </a:ext>
            </a:extLst>
          </p:cNvPr>
          <p:cNvSpPr/>
          <p:nvPr/>
        </p:nvSpPr>
        <p:spPr>
          <a:xfrm>
            <a:off x="8522774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tyring og samordning for en mer sammenhengende offentlig sektor</a:t>
            </a:r>
          </a:p>
        </p:txBody>
      </p:sp>
      <p:sp>
        <p:nvSpPr>
          <p:cNvPr id="75" name="Rectangle 59">
            <a:extLst>
              <a:ext uri="{FF2B5EF4-FFF2-40B4-BE49-F238E27FC236}">
                <a16:creationId xmlns:a16="http://schemas.microsoft.com/office/drawing/2014/main" id="{C0ED7818-AC63-4AB3-9F9B-297CC930D69F}"/>
              </a:ext>
            </a:extLst>
          </p:cNvPr>
          <p:cNvSpPr/>
          <p:nvPr/>
        </p:nvSpPr>
        <p:spPr>
          <a:xfrm>
            <a:off x="10558031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tyrket samarbeid med privat sektor</a:t>
            </a:r>
          </a:p>
        </p:txBody>
      </p:sp>
      <p:sp>
        <p:nvSpPr>
          <p:cNvPr id="76" name="Rectangle 61">
            <a:extLst>
              <a:ext uri="{FF2B5EF4-FFF2-40B4-BE49-F238E27FC236}">
                <a16:creationId xmlns:a16="http://schemas.microsoft.com/office/drawing/2014/main" id="{CCCB1C31-3540-44B4-9219-F4F5BBBEA0F0}"/>
              </a:ext>
            </a:extLst>
          </p:cNvPr>
          <p:cNvSpPr/>
          <p:nvPr/>
        </p:nvSpPr>
        <p:spPr>
          <a:xfrm>
            <a:off x="12593289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Økt digital kompetanse i offentlig sektor</a:t>
            </a:r>
          </a:p>
        </p:txBody>
      </p:sp>
      <p:sp>
        <p:nvSpPr>
          <p:cNvPr id="77" name="Rectangle 62">
            <a:extLst>
              <a:ext uri="{FF2B5EF4-FFF2-40B4-BE49-F238E27FC236}">
                <a16:creationId xmlns:a16="http://schemas.microsoft.com/office/drawing/2014/main" id="{4FAD5E75-7CFB-4352-8AE0-F2E6DC8A9B61}"/>
              </a:ext>
            </a:extLst>
          </p:cNvPr>
          <p:cNvSpPr/>
          <p:nvPr/>
        </p:nvSpPr>
        <p:spPr>
          <a:xfrm>
            <a:off x="14628549" y="2253175"/>
            <a:ext cx="1625863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Digital sikkerhet</a:t>
            </a:r>
          </a:p>
        </p:txBody>
      </p:sp>
      <p:sp>
        <p:nvSpPr>
          <p:cNvPr id="78" name="Rectangle 65">
            <a:extLst>
              <a:ext uri="{FF2B5EF4-FFF2-40B4-BE49-F238E27FC236}">
                <a16:creationId xmlns:a16="http://schemas.microsoft.com/office/drawing/2014/main" id="{1631D48D-F1EE-4962-8760-E14E7E807069}"/>
              </a:ext>
            </a:extLst>
          </p:cNvPr>
          <p:cNvSpPr/>
          <p:nvPr/>
        </p:nvSpPr>
        <p:spPr>
          <a:xfrm>
            <a:off x="2417003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Økt deling av data og verdiskaping</a:t>
            </a:r>
          </a:p>
        </p:txBody>
      </p:sp>
      <p:sp>
        <p:nvSpPr>
          <p:cNvPr id="79" name="Rectangle 75">
            <a:extLst>
              <a:ext uri="{FF2B5EF4-FFF2-40B4-BE49-F238E27FC236}">
                <a16:creationId xmlns:a16="http://schemas.microsoft.com/office/drawing/2014/main" id="{1FD8312C-73A7-4474-90E3-4FE2D2D2A4FC}"/>
              </a:ext>
            </a:extLst>
          </p:cNvPr>
          <p:cNvSpPr/>
          <p:nvPr/>
        </p:nvSpPr>
        <p:spPr>
          <a:xfrm>
            <a:off x="381745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ammenhengende tjenester med brukeren i sentrum</a:t>
            </a:r>
          </a:p>
        </p:txBody>
      </p:sp>
      <p:sp>
        <p:nvSpPr>
          <p:cNvPr id="80" name="Rectangle 9">
            <a:extLst>
              <a:ext uri="{FF2B5EF4-FFF2-40B4-BE49-F238E27FC236}">
                <a16:creationId xmlns:a16="http://schemas.microsoft.com/office/drawing/2014/main" id="{2638BA1B-AF98-4845-A016-213E11573F51}"/>
              </a:ext>
            </a:extLst>
          </p:cNvPr>
          <p:cNvSpPr/>
          <p:nvPr/>
        </p:nvSpPr>
        <p:spPr>
          <a:xfrm>
            <a:off x="14244262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9</a:t>
            </a:r>
          </a:p>
        </p:txBody>
      </p:sp>
      <p:sp>
        <p:nvSpPr>
          <p:cNvPr id="81" name="Rectangle 79">
            <a:extLst>
              <a:ext uri="{FF2B5EF4-FFF2-40B4-BE49-F238E27FC236}">
                <a16:creationId xmlns:a16="http://schemas.microsoft.com/office/drawing/2014/main" id="{1CB5DCF7-59B8-4CA3-9482-4A0C8F7CAC76}"/>
              </a:ext>
            </a:extLst>
          </p:cNvPr>
          <p:cNvSpPr/>
          <p:nvPr/>
        </p:nvSpPr>
        <p:spPr>
          <a:xfrm>
            <a:off x="12209001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8</a:t>
            </a:r>
          </a:p>
        </p:txBody>
      </p:sp>
      <p:sp>
        <p:nvSpPr>
          <p:cNvPr id="82" name="Rectangle 80">
            <a:extLst>
              <a:ext uri="{FF2B5EF4-FFF2-40B4-BE49-F238E27FC236}">
                <a16:creationId xmlns:a16="http://schemas.microsoft.com/office/drawing/2014/main" id="{BFC8A460-5F4F-4FDB-A692-AF123A09CF1E}"/>
              </a:ext>
            </a:extLst>
          </p:cNvPr>
          <p:cNvSpPr/>
          <p:nvPr/>
        </p:nvSpPr>
        <p:spPr>
          <a:xfrm>
            <a:off x="10173743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7</a:t>
            </a:r>
          </a:p>
        </p:txBody>
      </p:sp>
      <p:sp>
        <p:nvSpPr>
          <p:cNvPr id="83" name="Rectangle 81">
            <a:extLst>
              <a:ext uri="{FF2B5EF4-FFF2-40B4-BE49-F238E27FC236}">
                <a16:creationId xmlns:a16="http://schemas.microsoft.com/office/drawing/2014/main" id="{D88ADD42-7E75-4084-A6C2-EAB8A38D9E94}"/>
              </a:ext>
            </a:extLst>
          </p:cNvPr>
          <p:cNvSpPr/>
          <p:nvPr/>
        </p:nvSpPr>
        <p:spPr>
          <a:xfrm>
            <a:off x="8138486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6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C9F86E2-BB03-47E4-AFA4-6BAC9DE0A06D}"/>
              </a:ext>
            </a:extLst>
          </p:cNvPr>
          <p:cNvSpPr/>
          <p:nvPr/>
        </p:nvSpPr>
        <p:spPr>
          <a:xfrm>
            <a:off x="6103229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85" name="Rectangle 89">
            <a:extLst>
              <a:ext uri="{FF2B5EF4-FFF2-40B4-BE49-F238E27FC236}">
                <a16:creationId xmlns:a16="http://schemas.microsoft.com/office/drawing/2014/main" id="{C0C78739-2E12-4ED0-AB21-1A056B394E44}"/>
              </a:ext>
            </a:extLst>
          </p:cNvPr>
          <p:cNvSpPr/>
          <p:nvPr/>
        </p:nvSpPr>
        <p:spPr>
          <a:xfrm>
            <a:off x="4067972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86" name="Rectangle 97">
            <a:extLst>
              <a:ext uri="{FF2B5EF4-FFF2-40B4-BE49-F238E27FC236}">
                <a16:creationId xmlns:a16="http://schemas.microsoft.com/office/drawing/2014/main" id="{1308403F-D762-4DD9-BF41-AEA13E92A68A}"/>
              </a:ext>
            </a:extLst>
          </p:cNvPr>
          <p:cNvSpPr/>
          <p:nvPr/>
        </p:nvSpPr>
        <p:spPr>
          <a:xfrm>
            <a:off x="2032714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87" name="Rectangle 98">
            <a:extLst>
              <a:ext uri="{FF2B5EF4-FFF2-40B4-BE49-F238E27FC236}">
                <a16:creationId xmlns:a16="http://schemas.microsoft.com/office/drawing/2014/main" id="{A06F0E26-5D9C-4604-B10F-E34C021A1A47}"/>
              </a:ext>
            </a:extLst>
          </p:cNvPr>
          <p:cNvSpPr/>
          <p:nvPr/>
        </p:nvSpPr>
        <p:spPr>
          <a:xfrm>
            <a:off x="-2543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88" name="Rectangle: Rounded Corners 54">
            <a:extLst>
              <a:ext uri="{FF2B5EF4-FFF2-40B4-BE49-F238E27FC236}">
                <a16:creationId xmlns:a16="http://schemas.microsoft.com/office/drawing/2014/main" id="{94B721E6-4865-45D2-8194-2E0BA9C08F70}"/>
              </a:ext>
            </a:extLst>
          </p:cNvPr>
          <p:cNvSpPr/>
          <p:nvPr/>
        </p:nvSpPr>
        <p:spPr>
          <a:xfrm>
            <a:off x="2153284" y="4213958"/>
            <a:ext cx="1697312" cy="49167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C32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3. Datafordeler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ED826FD5-E892-4141-B174-30671D1F74E9}"/>
              </a:ext>
            </a:extLst>
          </p:cNvPr>
          <p:cNvSpPr/>
          <p:nvPr/>
        </p:nvSpPr>
        <p:spPr>
          <a:xfrm>
            <a:off x="2152800" y="4886529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C325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4. Utrede plikt til å publisere åpne data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921D7DD7-50FB-4C08-8356-EFCA313E66C9}"/>
              </a:ext>
            </a:extLst>
          </p:cNvPr>
          <p:cNvSpPr/>
          <p:nvPr/>
        </p:nvSpPr>
        <p:spPr>
          <a:xfrm>
            <a:off x="4146237" y="2896163"/>
            <a:ext cx="1697312" cy="47887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1. Digitaliseringsvennlig regelverk – gjennomgang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AAED8ED4-991A-4D43-8272-DE9E4AEE2B44}"/>
              </a:ext>
            </a:extLst>
          </p:cNvPr>
          <p:cNvSpPr/>
          <p:nvPr/>
        </p:nvSpPr>
        <p:spPr>
          <a:xfrm>
            <a:off x="4146237" y="3546783"/>
            <a:ext cx="1697312" cy="47887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2. Digitaliseringsvennlig regelverk – dialog med interessenter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B26A025E-21FC-4250-BCF0-FB81FED56D63}"/>
              </a:ext>
            </a:extLst>
          </p:cNvPr>
          <p:cNvSpPr/>
          <p:nvPr/>
        </p:nvSpPr>
        <p:spPr>
          <a:xfrm>
            <a:off x="131699" y="567100"/>
            <a:ext cx="15911883" cy="1450708"/>
          </a:xfrm>
          <a:prstGeom prst="roundRect">
            <a:avLst>
              <a:gd name="adj" fmla="val 10294"/>
            </a:avLst>
          </a:prstGeom>
          <a:solidFill>
            <a:schemeClr val="bg1">
              <a:lumMod val="95000"/>
            </a:schemeClr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endParaRPr lang="nb-NO" sz="1600" b="1">
              <a:solidFill>
                <a:srgbClr val="23344F"/>
              </a:solidFill>
              <a:latin typeface="Arial" panose="020B0604020202020204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97F5B7C-663A-489D-9A98-7FD657C65A6F}"/>
              </a:ext>
            </a:extLst>
          </p:cNvPr>
          <p:cNvSpPr/>
          <p:nvPr/>
        </p:nvSpPr>
        <p:spPr>
          <a:xfrm>
            <a:off x="1147535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1 FÅ BAR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3597D39-CD78-4B7D-A7DD-B28305D61284}"/>
              </a:ext>
            </a:extLst>
          </p:cNvPr>
          <p:cNvSpPr/>
          <p:nvPr/>
        </p:nvSpPr>
        <p:spPr>
          <a:xfrm>
            <a:off x="3168166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2 ALVORLIG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SYKT BAR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96F3E90-70B4-4D5A-A193-368C6F650DD0}"/>
              </a:ext>
            </a:extLst>
          </p:cNvPr>
          <p:cNvSpPr/>
          <p:nvPr/>
        </p:nvSpPr>
        <p:spPr>
          <a:xfrm>
            <a:off x="5188797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60954" rIns="95991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3 MISTE OG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FINNE JOBB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FE560B2-D453-4902-8F0C-171FC10F852D}"/>
              </a:ext>
            </a:extLst>
          </p:cNvPr>
          <p:cNvSpPr/>
          <p:nvPr/>
        </p:nvSpPr>
        <p:spPr>
          <a:xfrm>
            <a:off x="7209428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4 NY I NORGE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C04439E-5A13-47D5-AED1-764B0B89588E}"/>
              </a:ext>
            </a:extLst>
          </p:cNvPr>
          <p:cNvSpPr/>
          <p:nvPr/>
        </p:nvSpPr>
        <p:spPr>
          <a:xfrm>
            <a:off x="9230059" y="1547095"/>
            <a:ext cx="1835562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5 STARTE OG DRIVE EN BEDRIFT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7BC550F-C712-4283-9205-0881ED906BDE}"/>
              </a:ext>
            </a:extLst>
          </p:cNvPr>
          <p:cNvSpPr/>
          <p:nvPr/>
        </p:nvSpPr>
        <p:spPr>
          <a:xfrm>
            <a:off x="11067133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6 STARTE OG DRIVE EN FRIVILLIG ORGANISASJON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FCE00AB-688A-4826-8E07-D281822F48F0}"/>
              </a:ext>
            </a:extLst>
          </p:cNvPr>
          <p:cNvSpPr/>
          <p:nvPr/>
        </p:nvSpPr>
        <p:spPr>
          <a:xfrm>
            <a:off x="13087763" y="1547095"/>
            <a:ext cx="2019117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988" tIns="60954" rIns="119988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7 DØDSFALL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OG ARV</a:t>
            </a:r>
          </a:p>
        </p:txBody>
      </p:sp>
      <p:pic>
        <p:nvPicPr>
          <p:cNvPr id="124" name="Picture 1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E3EA9E4-29A5-4CB5-BA74-F48D1A9971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039" y="654235"/>
            <a:ext cx="749516" cy="748026"/>
          </a:xfrm>
          <a:prstGeom prst="rect">
            <a:avLst/>
          </a:prstGeom>
        </p:spPr>
      </p:pic>
      <p:pic>
        <p:nvPicPr>
          <p:cNvPr id="125" name="Picture 1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DBADE8-4162-4A8C-A526-8C9ADD23A8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26" y="658177"/>
            <a:ext cx="749516" cy="748026"/>
          </a:xfrm>
          <a:prstGeom prst="rect">
            <a:avLst/>
          </a:prstGeom>
        </p:spPr>
      </p:pic>
      <p:pic>
        <p:nvPicPr>
          <p:cNvPr id="126" name="Picture 12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6E2A534-2773-4DE3-834F-51D38F86C17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111" y="662457"/>
            <a:ext cx="749516" cy="748026"/>
          </a:xfrm>
          <a:prstGeom prst="rect">
            <a:avLst/>
          </a:prstGeom>
        </p:spPr>
      </p:pic>
      <p:pic>
        <p:nvPicPr>
          <p:cNvPr id="127" name="Picture 126" descr="A close up of a sign&#10;&#10;Description automatically generated">
            <a:extLst>
              <a:ext uri="{FF2B5EF4-FFF2-40B4-BE49-F238E27FC236}">
                <a16:creationId xmlns:a16="http://schemas.microsoft.com/office/drawing/2014/main" id="{1C2E102E-A0CF-4916-A43A-2EE97E89D1D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6371" y="654203"/>
            <a:ext cx="749516" cy="749514"/>
          </a:xfrm>
          <a:prstGeom prst="rect">
            <a:avLst/>
          </a:prstGeom>
        </p:spPr>
      </p:pic>
      <p:pic>
        <p:nvPicPr>
          <p:cNvPr id="128" name="Picture 127" descr="A picture containing drawing, device&#10;&#10;Description automatically generated">
            <a:extLst>
              <a:ext uri="{FF2B5EF4-FFF2-40B4-BE49-F238E27FC236}">
                <a16:creationId xmlns:a16="http://schemas.microsoft.com/office/drawing/2014/main" id="{222A73A8-3E59-4A66-8132-63110405D69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4787" y="654203"/>
            <a:ext cx="749516" cy="749514"/>
          </a:xfrm>
          <a:prstGeom prst="rect">
            <a:avLst/>
          </a:prstGeom>
        </p:spPr>
      </p:pic>
      <p:pic>
        <p:nvPicPr>
          <p:cNvPr id="129" name="Picture 12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421F93E-EC82-411D-8DD9-3D34118B798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448" y="654235"/>
            <a:ext cx="749516" cy="748026"/>
          </a:xfrm>
          <a:prstGeom prst="rect">
            <a:avLst/>
          </a:prstGeom>
        </p:spPr>
      </p:pic>
      <p:pic>
        <p:nvPicPr>
          <p:cNvPr id="130" name="Picture 1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D07EAB-F1DA-442A-8C56-61764E47552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4929" y="654203"/>
            <a:ext cx="749516" cy="751005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DA5CC988-7DB6-4911-BEDF-96AB1C6DD8C9}"/>
              </a:ext>
            </a:extLst>
          </p:cNvPr>
          <p:cNvSpPr/>
          <p:nvPr/>
        </p:nvSpPr>
        <p:spPr>
          <a:xfrm>
            <a:off x="5861201" y="200047"/>
            <a:ext cx="45320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078">
              <a:defRPr/>
            </a:pPr>
            <a:r>
              <a:rPr lang="nb-NO" sz="1800" b="1">
                <a:solidFill>
                  <a:srgbClr val="000000"/>
                </a:solidFill>
                <a:latin typeface="Arial" panose="020B0604020202020204"/>
              </a:rPr>
              <a:t>Regjeringens 7 prioriterte livshendelser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2BF0AFCB-B1CB-41B7-829D-5AD896692AD5}"/>
              </a:ext>
            </a:extLst>
          </p:cNvPr>
          <p:cNvSpPr/>
          <p:nvPr/>
        </p:nvSpPr>
        <p:spPr>
          <a:xfrm>
            <a:off x="1999644" y="2154420"/>
            <a:ext cx="2007907" cy="4183605"/>
          </a:xfrm>
          <a:prstGeom prst="round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36" name="Connector: Curved 135">
            <a:extLst>
              <a:ext uri="{FF2B5EF4-FFF2-40B4-BE49-F238E27FC236}">
                <a16:creationId xmlns:a16="http://schemas.microsoft.com/office/drawing/2014/main" id="{8CA8CA3A-CF71-4BBD-915C-16FDF9387511}"/>
              </a:ext>
            </a:extLst>
          </p:cNvPr>
          <p:cNvCxnSpPr>
            <a:cxnSpLocks/>
          </p:cNvCxnSpPr>
          <p:nvPr/>
        </p:nvCxnSpPr>
        <p:spPr>
          <a:xfrm rot="16200000" flipH="1">
            <a:off x="4415614" y="1633023"/>
            <a:ext cx="98755" cy="1218657"/>
          </a:xfrm>
          <a:prstGeom prst="curvedConnector3">
            <a:avLst>
              <a:gd name="adj1" fmla="val -10288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or: Curved 139">
            <a:extLst>
              <a:ext uri="{FF2B5EF4-FFF2-40B4-BE49-F238E27FC236}">
                <a16:creationId xmlns:a16="http://schemas.microsoft.com/office/drawing/2014/main" id="{AE6CA036-E137-4C58-8587-99D3E66A0C52}"/>
              </a:ext>
            </a:extLst>
          </p:cNvPr>
          <p:cNvCxnSpPr>
            <a:cxnSpLocks/>
          </p:cNvCxnSpPr>
          <p:nvPr/>
        </p:nvCxnSpPr>
        <p:spPr>
          <a:xfrm rot="16200000" flipV="1">
            <a:off x="1530459" y="1705621"/>
            <a:ext cx="12700" cy="1017628"/>
          </a:xfrm>
          <a:prstGeom prst="curvedConnector3">
            <a:avLst>
              <a:gd name="adj1" fmla="val 10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F2EBD51-6386-43EF-AF21-773289971447}"/>
              </a:ext>
            </a:extLst>
          </p:cNvPr>
          <p:cNvSpPr/>
          <p:nvPr/>
        </p:nvSpPr>
        <p:spPr>
          <a:xfrm>
            <a:off x="0" y="7547055"/>
            <a:ext cx="16254411" cy="692714"/>
          </a:xfrm>
          <a:prstGeom prst="rect">
            <a:avLst/>
          </a:prstGeom>
          <a:solidFill>
            <a:srgbClr val="1E2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800" b="1"/>
              <a:t>Deling av data en forutsetning for sammenhengende tjenester, men uten digitaliseringsvennlig regelverk blir deling av data vanskelig</a:t>
            </a:r>
          </a:p>
        </p:txBody>
      </p:sp>
    </p:spTree>
    <p:extLst>
      <p:ext uri="{BB962C8B-B14F-4D97-AF65-F5344CB8AC3E}">
        <p14:creationId xmlns:p14="http://schemas.microsoft.com/office/powerpoint/2010/main" val="3454764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E3959C-3BF9-4E9C-B180-54C189B899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564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E3959C-3BF9-4E9C-B180-54C189B89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8" name="Picture 147">
            <a:extLst>
              <a:ext uri="{FF2B5EF4-FFF2-40B4-BE49-F238E27FC236}">
                <a16:creationId xmlns:a16="http://schemas.microsoft.com/office/drawing/2014/main" id="{5F161E53-F357-4422-B334-8C81E4921DF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06"/>
          <a:stretch/>
        </p:blipFill>
        <p:spPr>
          <a:xfrm>
            <a:off x="0" y="0"/>
            <a:ext cx="16254410" cy="9144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EF749B7-BF57-468A-BF5B-FD8D28EDFB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46"/>
            <a:ext cx="211646" cy="2116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219078">
              <a:defRPr/>
            </a:pPr>
            <a:endParaRPr lang="nb-NO" sz="4266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3E91DD3-902C-4AD0-98F6-136F8AE12A77}"/>
              </a:ext>
            </a:extLst>
          </p:cNvPr>
          <p:cNvSpPr/>
          <p:nvPr/>
        </p:nvSpPr>
        <p:spPr>
          <a:xfrm>
            <a:off x="6228000" y="5591141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5. CERT-funksjon for økosystem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D7A5C28-8DE2-4D78-A769-FDAD304468D4}"/>
              </a:ext>
            </a:extLst>
          </p:cNvPr>
          <p:cNvSpPr/>
          <p:nvPr/>
        </p:nvSpPr>
        <p:spPr>
          <a:xfrm>
            <a:off x="131697" y="3553777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2.9. Utvikle felles prinsipper for god brukskvalitet i digitale tjeneste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E1BEE46-C137-4CC5-9F42-888D7C32B14E}"/>
              </a:ext>
            </a:extLst>
          </p:cNvPr>
          <p:cNvSpPr/>
          <p:nvPr/>
        </p:nvSpPr>
        <p:spPr>
          <a:xfrm>
            <a:off x="131697" y="4213958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2.10. Utrede konsept for personlig tilgang til egne data, informasjon og tjenester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8207150-2B89-44DB-8291-7EC7E89E9699}"/>
              </a:ext>
            </a:extLst>
          </p:cNvPr>
          <p:cNvSpPr/>
          <p:nvPr/>
        </p:nvSpPr>
        <p:spPr>
          <a:xfrm>
            <a:off x="2152800" y="3549013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C32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2. Datasjøer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D43037A-051D-4D72-ABC1-2B060B92AB7B}"/>
              </a:ext>
            </a:extLst>
          </p:cNvPr>
          <p:cNvSpPr/>
          <p:nvPr/>
        </p:nvSpPr>
        <p:spPr>
          <a:xfrm>
            <a:off x="6226678" y="2891038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1. Etablere arenaer for samordning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1F83F26-9576-4732-A48E-29945BCB7A97}"/>
              </a:ext>
            </a:extLst>
          </p:cNvPr>
          <p:cNvSpPr/>
          <p:nvPr/>
        </p:nvSpPr>
        <p:spPr>
          <a:xfrm>
            <a:off x="4147200" y="4901590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4. Digitaliseringsvennlig regelverk – omtale i </a:t>
            </a:r>
            <a:r>
              <a:rPr lang="nb-NO" sz="800" err="1">
                <a:solidFill>
                  <a:srgbClr val="23344F"/>
                </a:solidFill>
                <a:latin typeface="Arial" panose="020B0604020202020204"/>
              </a:rPr>
              <a:t>Lovteknikk</a:t>
            </a: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 og lovforberedelse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842C5C6-BD34-4612-BA23-3EC5EEE23A26}"/>
              </a:ext>
            </a:extLst>
          </p:cNvPr>
          <p:cNvSpPr/>
          <p:nvPr/>
        </p:nvSpPr>
        <p:spPr>
          <a:xfrm>
            <a:off x="8218800" y="3553713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2. Strategisk styring av digitaliseringen – veileder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96DE596-2473-4C0E-9C3F-C47BEA2AA93F}"/>
              </a:ext>
            </a:extLst>
          </p:cNvPr>
          <p:cNvSpPr/>
          <p:nvPr/>
        </p:nvSpPr>
        <p:spPr>
          <a:xfrm>
            <a:off x="8218800" y="4206482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47995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3. Kompetansebygging, erfaringsoverføring og bistand til gevinstrealisering – veiledning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22ADC88-8E94-4C20-B2B9-71B668AF1C6D}"/>
              </a:ext>
            </a:extLst>
          </p:cNvPr>
          <p:cNvSpPr/>
          <p:nvPr/>
        </p:nvSpPr>
        <p:spPr>
          <a:xfrm>
            <a:off x="10364400" y="3546783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7.2. Etablere program for økt samhandl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E305A99-84F2-4678-B051-7A831FDA2B87}"/>
              </a:ext>
            </a:extLst>
          </p:cNvPr>
          <p:cNvSpPr/>
          <p:nvPr/>
        </p:nvSpPr>
        <p:spPr>
          <a:xfrm>
            <a:off x="12353318" y="2881828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8.1. Strategi for digital kompetans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64EF941-5D78-4FC8-BE94-C4A9AF41D2D9}"/>
              </a:ext>
            </a:extLst>
          </p:cNvPr>
          <p:cNvSpPr/>
          <p:nvPr/>
        </p:nvSpPr>
        <p:spPr>
          <a:xfrm>
            <a:off x="6228569" y="4886529"/>
            <a:ext cx="1691789" cy="49906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4. e-ID og e-Signatur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19223CE-51F6-49C4-867E-66A719B22BE1}"/>
              </a:ext>
            </a:extLst>
          </p:cNvPr>
          <p:cNvSpPr/>
          <p:nvPr/>
        </p:nvSpPr>
        <p:spPr>
          <a:xfrm>
            <a:off x="14346273" y="2881828"/>
            <a:ext cx="1697310" cy="4909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9. Digital sikkerhe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E59335D1-564E-4F55-AC6A-1F028733F9A3}"/>
              </a:ext>
            </a:extLst>
          </p:cNvPr>
          <p:cNvSpPr/>
          <p:nvPr/>
        </p:nvSpPr>
        <p:spPr>
          <a:xfrm>
            <a:off x="2153284" y="5554746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5. Nasjonal strategi for</a:t>
            </a:r>
          </a:p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kunstig intelligens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291BF70-C284-4C22-80A1-895F7191C6A1}"/>
              </a:ext>
            </a:extLst>
          </p:cNvPr>
          <p:cNvSpPr/>
          <p:nvPr/>
        </p:nvSpPr>
        <p:spPr>
          <a:xfrm>
            <a:off x="8219632" y="2882862"/>
            <a:ext cx="1691789" cy="49186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1. Forsterke og videreutvikle Skates mandat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E7DFEBC-D236-4E43-9E2E-205F99B6D0CC}"/>
              </a:ext>
            </a:extLst>
          </p:cNvPr>
          <p:cNvSpPr/>
          <p:nvPr/>
        </p:nvSpPr>
        <p:spPr>
          <a:xfrm>
            <a:off x="8218800" y="4864964"/>
            <a:ext cx="1685434" cy="5206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4. Prinsipper for kostnadsdeling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3431FFF-22B3-4D3C-8B67-4BEB25A4B1F1}"/>
              </a:ext>
            </a:extLst>
          </p:cNvPr>
          <p:cNvSpPr/>
          <p:nvPr/>
        </p:nvSpPr>
        <p:spPr>
          <a:xfrm>
            <a:off x="8218800" y="5555208"/>
            <a:ext cx="1697312" cy="52062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47995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5. Felles prinsipper for involvering av kommunal sektor i statlige beslutninger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2FFEED0E-2958-4F8A-AF08-6932CD9DB216}"/>
              </a:ext>
            </a:extLst>
          </p:cNvPr>
          <p:cNvSpPr/>
          <p:nvPr/>
        </p:nvSpPr>
        <p:spPr>
          <a:xfrm>
            <a:off x="8218800" y="6245451"/>
            <a:ext cx="1697312" cy="52113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6. Etablere arenaer innenfor konsultasjonsordninge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39FAF58-C5D7-476B-9694-7AD9B4CDD51C}"/>
              </a:ext>
            </a:extLst>
          </p:cNvPr>
          <p:cNvSpPr/>
          <p:nvPr/>
        </p:nvSpPr>
        <p:spPr>
          <a:xfrm>
            <a:off x="8218800" y="6936197"/>
            <a:ext cx="1697312" cy="52062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6.7. Samstyringsmodell – statlig og kommunal sektor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0006856C-1BE4-4315-BA77-6F2D8F0B5998}"/>
              </a:ext>
            </a:extLst>
          </p:cNvPr>
          <p:cNvSpPr/>
          <p:nvPr/>
        </p:nvSpPr>
        <p:spPr>
          <a:xfrm>
            <a:off x="2153284" y="2882861"/>
            <a:ext cx="1697312" cy="4819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1. Nasjonalt ressurssenter for deling av data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A160DC3-E977-4A5B-A193-2E4A8E99FDC1}"/>
              </a:ext>
            </a:extLst>
          </p:cNvPr>
          <p:cNvSpPr/>
          <p:nvPr/>
        </p:nvSpPr>
        <p:spPr>
          <a:xfrm>
            <a:off x="6228000" y="3549942"/>
            <a:ext cx="1697312" cy="47571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2. Koordinering av statlige og kommunale interesser i felles økosystem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3BB1826-FF35-4CEC-939B-DA485225FE84}"/>
              </a:ext>
            </a:extLst>
          </p:cNvPr>
          <p:cNvSpPr/>
          <p:nvPr/>
        </p:nvSpPr>
        <p:spPr>
          <a:xfrm>
            <a:off x="6228000" y="4214003"/>
            <a:ext cx="1697312" cy="48427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5.3. Styring av nasjonale fellesløsninger gjennom tildelingsbrev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DAA1C5C7-2FE4-47DB-9AEF-2E69E4F29AD6}"/>
              </a:ext>
            </a:extLst>
          </p:cNvPr>
          <p:cNvSpPr/>
          <p:nvPr/>
        </p:nvSpPr>
        <p:spPr>
          <a:xfrm>
            <a:off x="10365888" y="2872939"/>
            <a:ext cx="1691789" cy="49186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7.1. Felles prinsipper for samarbeid med privat sektor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6753BBA-CEB5-4D8C-BE1D-8167214A0CE1}"/>
              </a:ext>
            </a:extLst>
          </p:cNvPr>
          <p:cNvSpPr/>
          <p:nvPr/>
        </p:nvSpPr>
        <p:spPr>
          <a:xfrm>
            <a:off x="4147200" y="4210156"/>
            <a:ext cx="1698674" cy="4878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3. Digitaliseringsvennlig regelverk – veileder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E8F0B9D-EC65-4721-A762-20B365E596AE}"/>
              </a:ext>
            </a:extLst>
          </p:cNvPr>
          <p:cNvSpPr/>
          <p:nvPr/>
        </p:nvSpPr>
        <p:spPr>
          <a:xfrm>
            <a:off x="131697" y="2885431"/>
            <a:ext cx="1697312" cy="48193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2.8. Utvikle metoder og samle kunnskap om sammen-hengende tjenester</a:t>
            </a:r>
          </a:p>
        </p:txBody>
      </p:sp>
      <p:sp>
        <p:nvSpPr>
          <p:cNvPr id="72" name="Rectangle 52">
            <a:extLst>
              <a:ext uri="{FF2B5EF4-FFF2-40B4-BE49-F238E27FC236}">
                <a16:creationId xmlns:a16="http://schemas.microsoft.com/office/drawing/2014/main" id="{C13074A2-E087-4E7A-8364-68AA5892974F}"/>
              </a:ext>
            </a:extLst>
          </p:cNvPr>
          <p:cNvSpPr/>
          <p:nvPr/>
        </p:nvSpPr>
        <p:spPr>
          <a:xfrm>
            <a:off x="4452260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Klart og digitaliserings-vennlig regelverk</a:t>
            </a:r>
          </a:p>
        </p:txBody>
      </p:sp>
      <p:sp>
        <p:nvSpPr>
          <p:cNvPr id="73" name="Rectangle 55">
            <a:extLst>
              <a:ext uri="{FF2B5EF4-FFF2-40B4-BE49-F238E27FC236}">
                <a16:creationId xmlns:a16="http://schemas.microsoft.com/office/drawing/2014/main" id="{DC899187-2EFD-4045-A331-B6854D87FBE3}"/>
              </a:ext>
            </a:extLst>
          </p:cNvPr>
          <p:cNvSpPr/>
          <p:nvPr/>
        </p:nvSpPr>
        <p:spPr>
          <a:xfrm>
            <a:off x="6487517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Felles økosystem for nasjonal digital samhandling og tjenesteutvikling</a:t>
            </a: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76E1E832-6A57-4612-9609-86F3EA2579CA}"/>
              </a:ext>
            </a:extLst>
          </p:cNvPr>
          <p:cNvSpPr/>
          <p:nvPr/>
        </p:nvSpPr>
        <p:spPr>
          <a:xfrm>
            <a:off x="8522774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tyring og samordning for en mer sammenhengende offentlig sektor</a:t>
            </a:r>
          </a:p>
        </p:txBody>
      </p:sp>
      <p:sp>
        <p:nvSpPr>
          <p:cNvPr id="75" name="Rectangle 59">
            <a:extLst>
              <a:ext uri="{FF2B5EF4-FFF2-40B4-BE49-F238E27FC236}">
                <a16:creationId xmlns:a16="http://schemas.microsoft.com/office/drawing/2014/main" id="{C0ED7818-AC63-4AB3-9F9B-297CC930D69F}"/>
              </a:ext>
            </a:extLst>
          </p:cNvPr>
          <p:cNvSpPr/>
          <p:nvPr/>
        </p:nvSpPr>
        <p:spPr>
          <a:xfrm>
            <a:off x="10558031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tyrket samarbeid med privat sektor</a:t>
            </a:r>
          </a:p>
        </p:txBody>
      </p:sp>
      <p:sp>
        <p:nvSpPr>
          <p:cNvPr id="76" name="Rectangle 61">
            <a:extLst>
              <a:ext uri="{FF2B5EF4-FFF2-40B4-BE49-F238E27FC236}">
                <a16:creationId xmlns:a16="http://schemas.microsoft.com/office/drawing/2014/main" id="{CCCB1C31-3540-44B4-9219-F4F5BBBEA0F0}"/>
              </a:ext>
            </a:extLst>
          </p:cNvPr>
          <p:cNvSpPr/>
          <p:nvPr/>
        </p:nvSpPr>
        <p:spPr>
          <a:xfrm>
            <a:off x="12593289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Økt digital kompetanse i offentlig sektor</a:t>
            </a:r>
          </a:p>
        </p:txBody>
      </p:sp>
      <p:sp>
        <p:nvSpPr>
          <p:cNvPr id="77" name="Rectangle 62">
            <a:extLst>
              <a:ext uri="{FF2B5EF4-FFF2-40B4-BE49-F238E27FC236}">
                <a16:creationId xmlns:a16="http://schemas.microsoft.com/office/drawing/2014/main" id="{4FAD5E75-7CFB-4352-8AE0-F2E6DC8A9B61}"/>
              </a:ext>
            </a:extLst>
          </p:cNvPr>
          <p:cNvSpPr/>
          <p:nvPr/>
        </p:nvSpPr>
        <p:spPr>
          <a:xfrm>
            <a:off x="14628549" y="2253175"/>
            <a:ext cx="1625863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Digital sikkerhet</a:t>
            </a:r>
          </a:p>
        </p:txBody>
      </p:sp>
      <p:sp>
        <p:nvSpPr>
          <p:cNvPr id="78" name="Rectangle 65">
            <a:extLst>
              <a:ext uri="{FF2B5EF4-FFF2-40B4-BE49-F238E27FC236}">
                <a16:creationId xmlns:a16="http://schemas.microsoft.com/office/drawing/2014/main" id="{1631D48D-F1EE-4962-8760-E14E7E807069}"/>
              </a:ext>
            </a:extLst>
          </p:cNvPr>
          <p:cNvSpPr/>
          <p:nvPr/>
        </p:nvSpPr>
        <p:spPr>
          <a:xfrm>
            <a:off x="2417003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Økt deling av data og verdiskaping</a:t>
            </a:r>
          </a:p>
        </p:txBody>
      </p:sp>
      <p:sp>
        <p:nvSpPr>
          <p:cNvPr id="79" name="Rectangle 75">
            <a:extLst>
              <a:ext uri="{FF2B5EF4-FFF2-40B4-BE49-F238E27FC236}">
                <a16:creationId xmlns:a16="http://schemas.microsoft.com/office/drawing/2014/main" id="{1FD8312C-73A7-4474-90E3-4FE2D2D2A4FC}"/>
              </a:ext>
            </a:extLst>
          </p:cNvPr>
          <p:cNvSpPr/>
          <p:nvPr/>
        </p:nvSpPr>
        <p:spPr>
          <a:xfrm>
            <a:off x="381745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ammenhengende tjenester med brukeren i sentrum</a:t>
            </a:r>
          </a:p>
        </p:txBody>
      </p:sp>
      <p:sp>
        <p:nvSpPr>
          <p:cNvPr id="80" name="Rectangle 9">
            <a:extLst>
              <a:ext uri="{FF2B5EF4-FFF2-40B4-BE49-F238E27FC236}">
                <a16:creationId xmlns:a16="http://schemas.microsoft.com/office/drawing/2014/main" id="{2638BA1B-AF98-4845-A016-213E11573F51}"/>
              </a:ext>
            </a:extLst>
          </p:cNvPr>
          <p:cNvSpPr/>
          <p:nvPr/>
        </p:nvSpPr>
        <p:spPr>
          <a:xfrm>
            <a:off x="14244262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9</a:t>
            </a:r>
          </a:p>
        </p:txBody>
      </p:sp>
      <p:sp>
        <p:nvSpPr>
          <p:cNvPr id="81" name="Rectangle 79">
            <a:extLst>
              <a:ext uri="{FF2B5EF4-FFF2-40B4-BE49-F238E27FC236}">
                <a16:creationId xmlns:a16="http://schemas.microsoft.com/office/drawing/2014/main" id="{1CB5DCF7-59B8-4CA3-9482-4A0C8F7CAC76}"/>
              </a:ext>
            </a:extLst>
          </p:cNvPr>
          <p:cNvSpPr/>
          <p:nvPr/>
        </p:nvSpPr>
        <p:spPr>
          <a:xfrm>
            <a:off x="12209001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8</a:t>
            </a:r>
          </a:p>
        </p:txBody>
      </p:sp>
      <p:sp>
        <p:nvSpPr>
          <p:cNvPr id="82" name="Rectangle 80">
            <a:extLst>
              <a:ext uri="{FF2B5EF4-FFF2-40B4-BE49-F238E27FC236}">
                <a16:creationId xmlns:a16="http://schemas.microsoft.com/office/drawing/2014/main" id="{BFC8A460-5F4F-4FDB-A692-AF123A09CF1E}"/>
              </a:ext>
            </a:extLst>
          </p:cNvPr>
          <p:cNvSpPr/>
          <p:nvPr/>
        </p:nvSpPr>
        <p:spPr>
          <a:xfrm>
            <a:off x="10173743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7</a:t>
            </a:r>
          </a:p>
        </p:txBody>
      </p:sp>
      <p:sp>
        <p:nvSpPr>
          <p:cNvPr id="83" name="Rectangle 81">
            <a:extLst>
              <a:ext uri="{FF2B5EF4-FFF2-40B4-BE49-F238E27FC236}">
                <a16:creationId xmlns:a16="http://schemas.microsoft.com/office/drawing/2014/main" id="{D88ADD42-7E75-4084-A6C2-EAB8A38D9E94}"/>
              </a:ext>
            </a:extLst>
          </p:cNvPr>
          <p:cNvSpPr/>
          <p:nvPr/>
        </p:nvSpPr>
        <p:spPr>
          <a:xfrm>
            <a:off x="8138486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6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C9F86E2-BB03-47E4-AFA4-6BAC9DE0A06D}"/>
              </a:ext>
            </a:extLst>
          </p:cNvPr>
          <p:cNvSpPr/>
          <p:nvPr/>
        </p:nvSpPr>
        <p:spPr>
          <a:xfrm>
            <a:off x="6103229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85" name="Rectangle 89">
            <a:extLst>
              <a:ext uri="{FF2B5EF4-FFF2-40B4-BE49-F238E27FC236}">
                <a16:creationId xmlns:a16="http://schemas.microsoft.com/office/drawing/2014/main" id="{C0C78739-2E12-4ED0-AB21-1A056B394E44}"/>
              </a:ext>
            </a:extLst>
          </p:cNvPr>
          <p:cNvSpPr/>
          <p:nvPr/>
        </p:nvSpPr>
        <p:spPr>
          <a:xfrm>
            <a:off x="4067972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86" name="Rectangle 97">
            <a:extLst>
              <a:ext uri="{FF2B5EF4-FFF2-40B4-BE49-F238E27FC236}">
                <a16:creationId xmlns:a16="http://schemas.microsoft.com/office/drawing/2014/main" id="{1308403F-D762-4DD9-BF41-AEA13E92A68A}"/>
              </a:ext>
            </a:extLst>
          </p:cNvPr>
          <p:cNvSpPr/>
          <p:nvPr/>
        </p:nvSpPr>
        <p:spPr>
          <a:xfrm>
            <a:off x="2032714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87" name="Rectangle 98">
            <a:extLst>
              <a:ext uri="{FF2B5EF4-FFF2-40B4-BE49-F238E27FC236}">
                <a16:creationId xmlns:a16="http://schemas.microsoft.com/office/drawing/2014/main" id="{A06F0E26-5D9C-4604-B10F-E34C021A1A47}"/>
              </a:ext>
            </a:extLst>
          </p:cNvPr>
          <p:cNvSpPr/>
          <p:nvPr/>
        </p:nvSpPr>
        <p:spPr>
          <a:xfrm>
            <a:off x="-2543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88" name="Rectangle: Rounded Corners 54">
            <a:extLst>
              <a:ext uri="{FF2B5EF4-FFF2-40B4-BE49-F238E27FC236}">
                <a16:creationId xmlns:a16="http://schemas.microsoft.com/office/drawing/2014/main" id="{94B721E6-4865-45D2-8194-2E0BA9C08F70}"/>
              </a:ext>
            </a:extLst>
          </p:cNvPr>
          <p:cNvSpPr/>
          <p:nvPr/>
        </p:nvSpPr>
        <p:spPr>
          <a:xfrm>
            <a:off x="2153284" y="4213958"/>
            <a:ext cx="1697312" cy="49167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C325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3. Datafordeler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ED826FD5-E892-4141-B174-30671D1F74E9}"/>
              </a:ext>
            </a:extLst>
          </p:cNvPr>
          <p:cNvSpPr/>
          <p:nvPr/>
        </p:nvSpPr>
        <p:spPr>
          <a:xfrm>
            <a:off x="2152800" y="4886529"/>
            <a:ext cx="1697312" cy="48400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C325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3.4. Utrede plikt til å publisere åpne data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921D7DD7-50FB-4C08-8356-EFCA313E66C9}"/>
              </a:ext>
            </a:extLst>
          </p:cNvPr>
          <p:cNvSpPr/>
          <p:nvPr/>
        </p:nvSpPr>
        <p:spPr>
          <a:xfrm>
            <a:off x="4146237" y="2896163"/>
            <a:ext cx="1697312" cy="47887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1. Digitaliseringsvennlig regelverk – gjennomgang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AAED8ED4-991A-4D43-8272-DE9E4AEE2B44}"/>
              </a:ext>
            </a:extLst>
          </p:cNvPr>
          <p:cNvSpPr/>
          <p:nvPr/>
        </p:nvSpPr>
        <p:spPr>
          <a:xfrm>
            <a:off x="4146237" y="3546783"/>
            <a:ext cx="1697312" cy="47887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800">
                <a:solidFill>
                  <a:srgbClr val="23344F"/>
                </a:solidFill>
                <a:latin typeface="Arial" panose="020B0604020202020204"/>
              </a:rPr>
              <a:t>4.2. Digitaliseringsvennlig regelverk – dialog med interessenter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B26A025E-21FC-4250-BCF0-FB81FED56D63}"/>
              </a:ext>
            </a:extLst>
          </p:cNvPr>
          <p:cNvSpPr/>
          <p:nvPr/>
        </p:nvSpPr>
        <p:spPr>
          <a:xfrm>
            <a:off x="131699" y="567100"/>
            <a:ext cx="15911883" cy="1450708"/>
          </a:xfrm>
          <a:prstGeom prst="roundRect">
            <a:avLst>
              <a:gd name="adj" fmla="val 10294"/>
            </a:avLst>
          </a:prstGeom>
          <a:solidFill>
            <a:schemeClr val="bg1">
              <a:lumMod val="95000"/>
            </a:schemeClr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endParaRPr lang="nb-NO" sz="1600" b="1">
              <a:solidFill>
                <a:srgbClr val="23344F"/>
              </a:solidFill>
              <a:latin typeface="Arial" panose="020B0604020202020204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97F5B7C-663A-489D-9A98-7FD657C65A6F}"/>
              </a:ext>
            </a:extLst>
          </p:cNvPr>
          <p:cNvSpPr/>
          <p:nvPr/>
        </p:nvSpPr>
        <p:spPr>
          <a:xfrm>
            <a:off x="1147535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1 FÅ BAR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3597D39-CD78-4B7D-A7DD-B28305D61284}"/>
              </a:ext>
            </a:extLst>
          </p:cNvPr>
          <p:cNvSpPr/>
          <p:nvPr/>
        </p:nvSpPr>
        <p:spPr>
          <a:xfrm>
            <a:off x="3168166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2 ALVORLIG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SYKT BAR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96F3E90-70B4-4D5A-A193-368C6F650DD0}"/>
              </a:ext>
            </a:extLst>
          </p:cNvPr>
          <p:cNvSpPr/>
          <p:nvPr/>
        </p:nvSpPr>
        <p:spPr>
          <a:xfrm>
            <a:off x="5188797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60954" rIns="95991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3 MISTE OG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FINNE JOBB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FE560B2-D453-4902-8F0C-171FC10F852D}"/>
              </a:ext>
            </a:extLst>
          </p:cNvPr>
          <p:cNvSpPr/>
          <p:nvPr/>
        </p:nvSpPr>
        <p:spPr>
          <a:xfrm>
            <a:off x="7209428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4 NY I NORGE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C04439E-5A13-47D5-AED1-764B0B89588E}"/>
              </a:ext>
            </a:extLst>
          </p:cNvPr>
          <p:cNvSpPr/>
          <p:nvPr/>
        </p:nvSpPr>
        <p:spPr>
          <a:xfrm>
            <a:off x="9230059" y="1547095"/>
            <a:ext cx="1835562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5 STARTE OG DRIVE EN BEDRIFT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7BC550F-C712-4283-9205-0881ED906BDE}"/>
              </a:ext>
            </a:extLst>
          </p:cNvPr>
          <p:cNvSpPr/>
          <p:nvPr/>
        </p:nvSpPr>
        <p:spPr>
          <a:xfrm>
            <a:off x="11067133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6 STARTE OG DRIVE EN FRIVILLIG ORGANISASJON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FCE00AB-688A-4826-8E07-D281822F48F0}"/>
              </a:ext>
            </a:extLst>
          </p:cNvPr>
          <p:cNvSpPr/>
          <p:nvPr/>
        </p:nvSpPr>
        <p:spPr>
          <a:xfrm>
            <a:off x="13087763" y="1547095"/>
            <a:ext cx="2019117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988" tIns="60954" rIns="119988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7 DØDSFALL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OG ARV</a:t>
            </a:r>
          </a:p>
        </p:txBody>
      </p:sp>
      <p:pic>
        <p:nvPicPr>
          <p:cNvPr id="124" name="Picture 1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E3EA9E4-29A5-4CB5-BA74-F48D1A9971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039" y="654235"/>
            <a:ext cx="749516" cy="748026"/>
          </a:xfrm>
          <a:prstGeom prst="rect">
            <a:avLst/>
          </a:prstGeom>
        </p:spPr>
      </p:pic>
      <p:pic>
        <p:nvPicPr>
          <p:cNvPr id="125" name="Picture 1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DBADE8-4162-4A8C-A526-8C9ADD23A8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26" y="658177"/>
            <a:ext cx="749516" cy="748026"/>
          </a:xfrm>
          <a:prstGeom prst="rect">
            <a:avLst/>
          </a:prstGeom>
        </p:spPr>
      </p:pic>
      <p:pic>
        <p:nvPicPr>
          <p:cNvPr id="126" name="Picture 12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6E2A534-2773-4DE3-834F-51D38F86C17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111" y="662457"/>
            <a:ext cx="749516" cy="748026"/>
          </a:xfrm>
          <a:prstGeom prst="rect">
            <a:avLst/>
          </a:prstGeom>
        </p:spPr>
      </p:pic>
      <p:pic>
        <p:nvPicPr>
          <p:cNvPr id="127" name="Picture 126" descr="A close up of a sign&#10;&#10;Description automatically generated">
            <a:extLst>
              <a:ext uri="{FF2B5EF4-FFF2-40B4-BE49-F238E27FC236}">
                <a16:creationId xmlns:a16="http://schemas.microsoft.com/office/drawing/2014/main" id="{1C2E102E-A0CF-4916-A43A-2EE97E89D1D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6371" y="654203"/>
            <a:ext cx="749516" cy="749514"/>
          </a:xfrm>
          <a:prstGeom prst="rect">
            <a:avLst/>
          </a:prstGeom>
        </p:spPr>
      </p:pic>
      <p:pic>
        <p:nvPicPr>
          <p:cNvPr id="128" name="Picture 127" descr="A picture containing drawing, device&#10;&#10;Description automatically generated">
            <a:extLst>
              <a:ext uri="{FF2B5EF4-FFF2-40B4-BE49-F238E27FC236}">
                <a16:creationId xmlns:a16="http://schemas.microsoft.com/office/drawing/2014/main" id="{222A73A8-3E59-4A66-8132-63110405D69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4787" y="654203"/>
            <a:ext cx="749516" cy="749514"/>
          </a:xfrm>
          <a:prstGeom prst="rect">
            <a:avLst/>
          </a:prstGeom>
        </p:spPr>
      </p:pic>
      <p:pic>
        <p:nvPicPr>
          <p:cNvPr id="129" name="Picture 12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421F93E-EC82-411D-8DD9-3D34118B798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448" y="654235"/>
            <a:ext cx="749516" cy="748026"/>
          </a:xfrm>
          <a:prstGeom prst="rect">
            <a:avLst/>
          </a:prstGeom>
        </p:spPr>
      </p:pic>
      <p:pic>
        <p:nvPicPr>
          <p:cNvPr id="130" name="Picture 1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D07EAB-F1DA-442A-8C56-61764E47552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4929" y="654203"/>
            <a:ext cx="749516" cy="751005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DA5CC988-7DB6-4911-BEDF-96AB1C6DD8C9}"/>
              </a:ext>
            </a:extLst>
          </p:cNvPr>
          <p:cNvSpPr/>
          <p:nvPr/>
        </p:nvSpPr>
        <p:spPr>
          <a:xfrm>
            <a:off x="5861201" y="200047"/>
            <a:ext cx="45320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078">
              <a:defRPr/>
            </a:pPr>
            <a:r>
              <a:rPr lang="nb-NO" sz="1800" b="1">
                <a:solidFill>
                  <a:srgbClr val="000000"/>
                </a:solidFill>
                <a:latin typeface="Arial" panose="020B0604020202020204"/>
              </a:rPr>
              <a:t>Regjeringens 7 prioriterte livshendelser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2BF0AFCB-B1CB-41B7-829D-5AD896692AD5}"/>
              </a:ext>
            </a:extLst>
          </p:cNvPr>
          <p:cNvSpPr/>
          <p:nvPr/>
        </p:nvSpPr>
        <p:spPr>
          <a:xfrm>
            <a:off x="1999644" y="2154420"/>
            <a:ext cx="2007907" cy="4183605"/>
          </a:xfrm>
          <a:prstGeom prst="round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36" name="Connector: Curved 135">
            <a:extLst>
              <a:ext uri="{FF2B5EF4-FFF2-40B4-BE49-F238E27FC236}">
                <a16:creationId xmlns:a16="http://schemas.microsoft.com/office/drawing/2014/main" id="{8CA8CA3A-CF71-4BBD-915C-16FDF9387511}"/>
              </a:ext>
            </a:extLst>
          </p:cNvPr>
          <p:cNvCxnSpPr>
            <a:cxnSpLocks/>
          </p:cNvCxnSpPr>
          <p:nvPr/>
        </p:nvCxnSpPr>
        <p:spPr>
          <a:xfrm rot="16200000" flipH="1">
            <a:off x="4415614" y="1633023"/>
            <a:ext cx="98755" cy="1218657"/>
          </a:xfrm>
          <a:prstGeom prst="curvedConnector3">
            <a:avLst>
              <a:gd name="adj1" fmla="val -10288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or: Curved 139">
            <a:extLst>
              <a:ext uri="{FF2B5EF4-FFF2-40B4-BE49-F238E27FC236}">
                <a16:creationId xmlns:a16="http://schemas.microsoft.com/office/drawing/2014/main" id="{AE6CA036-E137-4C58-8587-99D3E66A0C52}"/>
              </a:ext>
            </a:extLst>
          </p:cNvPr>
          <p:cNvCxnSpPr>
            <a:cxnSpLocks/>
          </p:cNvCxnSpPr>
          <p:nvPr/>
        </p:nvCxnSpPr>
        <p:spPr>
          <a:xfrm rot="16200000" flipV="1">
            <a:off x="1530459" y="1705621"/>
            <a:ext cx="12700" cy="1017628"/>
          </a:xfrm>
          <a:prstGeom prst="curvedConnector3">
            <a:avLst>
              <a:gd name="adj1" fmla="val 100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F2EBD51-6386-43EF-AF21-773289971447}"/>
              </a:ext>
            </a:extLst>
          </p:cNvPr>
          <p:cNvSpPr/>
          <p:nvPr/>
        </p:nvSpPr>
        <p:spPr>
          <a:xfrm>
            <a:off x="0" y="7547055"/>
            <a:ext cx="16254411" cy="692714"/>
          </a:xfrm>
          <a:prstGeom prst="rect">
            <a:avLst/>
          </a:prstGeom>
          <a:solidFill>
            <a:srgbClr val="1E2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800" b="1"/>
              <a:t>Deling av data en forutsetning for sammenhengende tjenester, men uten digitaliseringsvennlig regelverk blir deling av data vanskelig</a:t>
            </a:r>
          </a:p>
        </p:txBody>
      </p:sp>
    </p:spTree>
    <p:extLst>
      <p:ext uri="{BB962C8B-B14F-4D97-AF65-F5344CB8AC3E}">
        <p14:creationId xmlns:p14="http://schemas.microsoft.com/office/powerpoint/2010/main" val="34547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AE3959C-3BF9-4E9C-B180-54C189B899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661755"/>
              </p:ext>
            </p:extLst>
          </p:nvPr>
        </p:nvGraphicFramePr>
        <p:xfrm>
          <a:off x="2117" y="2564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AE3959C-3BF9-4E9C-B180-54C189B89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8" name="Picture 147">
            <a:extLst>
              <a:ext uri="{FF2B5EF4-FFF2-40B4-BE49-F238E27FC236}">
                <a16:creationId xmlns:a16="http://schemas.microsoft.com/office/drawing/2014/main" id="{5F161E53-F357-4422-B334-8C81E4921DF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 amt="1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06"/>
          <a:stretch/>
        </p:blipFill>
        <p:spPr>
          <a:xfrm>
            <a:off x="0" y="0"/>
            <a:ext cx="16254410" cy="9144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EF749B7-BF57-468A-BF5B-FD8D28EDFB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46"/>
            <a:ext cx="211646" cy="2116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219078">
              <a:defRPr/>
            </a:pPr>
            <a:endParaRPr lang="nb-NO" sz="4266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2" name="Rectangle 52">
            <a:extLst>
              <a:ext uri="{FF2B5EF4-FFF2-40B4-BE49-F238E27FC236}">
                <a16:creationId xmlns:a16="http://schemas.microsoft.com/office/drawing/2014/main" id="{C13074A2-E087-4E7A-8364-68AA5892974F}"/>
              </a:ext>
            </a:extLst>
          </p:cNvPr>
          <p:cNvSpPr/>
          <p:nvPr/>
        </p:nvSpPr>
        <p:spPr>
          <a:xfrm>
            <a:off x="4452260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Klart og digitaliserings-vennlig regelverk</a:t>
            </a:r>
          </a:p>
        </p:txBody>
      </p:sp>
      <p:sp>
        <p:nvSpPr>
          <p:cNvPr id="73" name="Rectangle 55">
            <a:extLst>
              <a:ext uri="{FF2B5EF4-FFF2-40B4-BE49-F238E27FC236}">
                <a16:creationId xmlns:a16="http://schemas.microsoft.com/office/drawing/2014/main" id="{DC899187-2EFD-4045-A331-B6854D87FBE3}"/>
              </a:ext>
            </a:extLst>
          </p:cNvPr>
          <p:cNvSpPr/>
          <p:nvPr/>
        </p:nvSpPr>
        <p:spPr>
          <a:xfrm>
            <a:off x="6487517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Felles økosystem for nasjonal digital samhandling og tjenesteutvikling</a:t>
            </a:r>
          </a:p>
        </p:txBody>
      </p:sp>
      <p:sp>
        <p:nvSpPr>
          <p:cNvPr id="74" name="Rectangle 58">
            <a:extLst>
              <a:ext uri="{FF2B5EF4-FFF2-40B4-BE49-F238E27FC236}">
                <a16:creationId xmlns:a16="http://schemas.microsoft.com/office/drawing/2014/main" id="{76E1E832-6A57-4612-9609-86F3EA2579CA}"/>
              </a:ext>
            </a:extLst>
          </p:cNvPr>
          <p:cNvSpPr/>
          <p:nvPr/>
        </p:nvSpPr>
        <p:spPr>
          <a:xfrm>
            <a:off x="8522774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tyring og samordning for en mer sammenhengende offentlig sektor</a:t>
            </a:r>
          </a:p>
        </p:txBody>
      </p:sp>
      <p:sp>
        <p:nvSpPr>
          <p:cNvPr id="75" name="Rectangle 59">
            <a:extLst>
              <a:ext uri="{FF2B5EF4-FFF2-40B4-BE49-F238E27FC236}">
                <a16:creationId xmlns:a16="http://schemas.microsoft.com/office/drawing/2014/main" id="{C0ED7818-AC63-4AB3-9F9B-297CC930D69F}"/>
              </a:ext>
            </a:extLst>
          </p:cNvPr>
          <p:cNvSpPr/>
          <p:nvPr/>
        </p:nvSpPr>
        <p:spPr>
          <a:xfrm>
            <a:off x="10558031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tyrket samarbeid med privat sektor</a:t>
            </a:r>
          </a:p>
        </p:txBody>
      </p:sp>
      <p:sp>
        <p:nvSpPr>
          <p:cNvPr id="76" name="Rectangle 61">
            <a:extLst>
              <a:ext uri="{FF2B5EF4-FFF2-40B4-BE49-F238E27FC236}">
                <a16:creationId xmlns:a16="http://schemas.microsoft.com/office/drawing/2014/main" id="{CCCB1C31-3540-44B4-9219-F4F5BBBEA0F0}"/>
              </a:ext>
            </a:extLst>
          </p:cNvPr>
          <p:cNvSpPr/>
          <p:nvPr/>
        </p:nvSpPr>
        <p:spPr>
          <a:xfrm>
            <a:off x="12593289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Økt digital kompetanse i offentlig sektor</a:t>
            </a:r>
          </a:p>
        </p:txBody>
      </p:sp>
      <p:sp>
        <p:nvSpPr>
          <p:cNvPr id="77" name="Rectangle 62">
            <a:extLst>
              <a:ext uri="{FF2B5EF4-FFF2-40B4-BE49-F238E27FC236}">
                <a16:creationId xmlns:a16="http://schemas.microsoft.com/office/drawing/2014/main" id="{4FAD5E75-7CFB-4352-8AE0-F2E6DC8A9B61}"/>
              </a:ext>
            </a:extLst>
          </p:cNvPr>
          <p:cNvSpPr/>
          <p:nvPr/>
        </p:nvSpPr>
        <p:spPr>
          <a:xfrm>
            <a:off x="14628549" y="2253175"/>
            <a:ext cx="1625863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Digital sikkerhet</a:t>
            </a:r>
          </a:p>
        </p:txBody>
      </p:sp>
      <p:sp>
        <p:nvSpPr>
          <p:cNvPr id="78" name="Rectangle 65">
            <a:extLst>
              <a:ext uri="{FF2B5EF4-FFF2-40B4-BE49-F238E27FC236}">
                <a16:creationId xmlns:a16="http://schemas.microsoft.com/office/drawing/2014/main" id="{1631D48D-F1EE-4962-8760-E14E7E807069}"/>
              </a:ext>
            </a:extLst>
          </p:cNvPr>
          <p:cNvSpPr/>
          <p:nvPr/>
        </p:nvSpPr>
        <p:spPr>
          <a:xfrm>
            <a:off x="2417003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Økt deling av data og verdiskaping</a:t>
            </a:r>
          </a:p>
        </p:txBody>
      </p:sp>
      <p:sp>
        <p:nvSpPr>
          <p:cNvPr id="79" name="Rectangle 75">
            <a:extLst>
              <a:ext uri="{FF2B5EF4-FFF2-40B4-BE49-F238E27FC236}">
                <a16:creationId xmlns:a16="http://schemas.microsoft.com/office/drawing/2014/main" id="{1FD8312C-73A7-4474-90E3-4FE2D2D2A4FC}"/>
              </a:ext>
            </a:extLst>
          </p:cNvPr>
          <p:cNvSpPr/>
          <p:nvPr/>
        </p:nvSpPr>
        <p:spPr>
          <a:xfrm>
            <a:off x="381745" y="2253175"/>
            <a:ext cx="1650969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1272" rIns="0" bIns="812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078">
              <a:defRPr/>
            </a:pPr>
            <a:r>
              <a:rPr lang="nb-NO" sz="933" b="1">
                <a:solidFill>
                  <a:schemeClr val="tx1"/>
                </a:solidFill>
                <a:latin typeface="Arial" panose="020B0604020202020204"/>
              </a:rPr>
              <a:t>Sammenhengende tjenester med brukeren i sentrum</a:t>
            </a:r>
          </a:p>
        </p:txBody>
      </p:sp>
      <p:sp>
        <p:nvSpPr>
          <p:cNvPr id="80" name="Rectangle 9">
            <a:extLst>
              <a:ext uri="{FF2B5EF4-FFF2-40B4-BE49-F238E27FC236}">
                <a16:creationId xmlns:a16="http://schemas.microsoft.com/office/drawing/2014/main" id="{2638BA1B-AF98-4845-A016-213E11573F51}"/>
              </a:ext>
            </a:extLst>
          </p:cNvPr>
          <p:cNvSpPr/>
          <p:nvPr/>
        </p:nvSpPr>
        <p:spPr>
          <a:xfrm>
            <a:off x="14244262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9</a:t>
            </a:r>
          </a:p>
        </p:txBody>
      </p:sp>
      <p:sp>
        <p:nvSpPr>
          <p:cNvPr id="81" name="Rectangle 79">
            <a:extLst>
              <a:ext uri="{FF2B5EF4-FFF2-40B4-BE49-F238E27FC236}">
                <a16:creationId xmlns:a16="http://schemas.microsoft.com/office/drawing/2014/main" id="{1CB5DCF7-59B8-4CA3-9482-4A0C8F7CAC76}"/>
              </a:ext>
            </a:extLst>
          </p:cNvPr>
          <p:cNvSpPr/>
          <p:nvPr/>
        </p:nvSpPr>
        <p:spPr>
          <a:xfrm>
            <a:off x="12209001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8</a:t>
            </a:r>
          </a:p>
        </p:txBody>
      </p:sp>
      <p:sp>
        <p:nvSpPr>
          <p:cNvPr id="82" name="Rectangle 80">
            <a:extLst>
              <a:ext uri="{FF2B5EF4-FFF2-40B4-BE49-F238E27FC236}">
                <a16:creationId xmlns:a16="http://schemas.microsoft.com/office/drawing/2014/main" id="{BFC8A460-5F4F-4FDB-A692-AF123A09CF1E}"/>
              </a:ext>
            </a:extLst>
          </p:cNvPr>
          <p:cNvSpPr/>
          <p:nvPr/>
        </p:nvSpPr>
        <p:spPr>
          <a:xfrm>
            <a:off x="10173743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7</a:t>
            </a:r>
          </a:p>
        </p:txBody>
      </p:sp>
      <p:sp>
        <p:nvSpPr>
          <p:cNvPr id="83" name="Rectangle 81">
            <a:extLst>
              <a:ext uri="{FF2B5EF4-FFF2-40B4-BE49-F238E27FC236}">
                <a16:creationId xmlns:a16="http://schemas.microsoft.com/office/drawing/2014/main" id="{D88ADD42-7E75-4084-A6C2-EAB8A38D9E94}"/>
              </a:ext>
            </a:extLst>
          </p:cNvPr>
          <p:cNvSpPr/>
          <p:nvPr/>
        </p:nvSpPr>
        <p:spPr>
          <a:xfrm>
            <a:off x="8138486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6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EC9F86E2-BB03-47E4-AFA4-6BAC9DE0A06D}"/>
              </a:ext>
            </a:extLst>
          </p:cNvPr>
          <p:cNvSpPr/>
          <p:nvPr/>
        </p:nvSpPr>
        <p:spPr>
          <a:xfrm>
            <a:off x="6103229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85" name="Rectangle 89">
            <a:extLst>
              <a:ext uri="{FF2B5EF4-FFF2-40B4-BE49-F238E27FC236}">
                <a16:creationId xmlns:a16="http://schemas.microsoft.com/office/drawing/2014/main" id="{C0C78739-2E12-4ED0-AB21-1A056B394E44}"/>
              </a:ext>
            </a:extLst>
          </p:cNvPr>
          <p:cNvSpPr/>
          <p:nvPr/>
        </p:nvSpPr>
        <p:spPr>
          <a:xfrm>
            <a:off x="4067972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86" name="Rectangle 97">
            <a:extLst>
              <a:ext uri="{FF2B5EF4-FFF2-40B4-BE49-F238E27FC236}">
                <a16:creationId xmlns:a16="http://schemas.microsoft.com/office/drawing/2014/main" id="{1308403F-D762-4DD9-BF41-AEA13E92A68A}"/>
              </a:ext>
            </a:extLst>
          </p:cNvPr>
          <p:cNvSpPr/>
          <p:nvPr/>
        </p:nvSpPr>
        <p:spPr>
          <a:xfrm>
            <a:off x="2032714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87" name="Rectangle 98">
            <a:extLst>
              <a:ext uri="{FF2B5EF4-FFF2-40B4-BE49-F238E27FC236}">
                <a16:creationId xmlns:a16="http://schemas.microsoft.com/office/drawing/2014/main" id="{A06F0E26-5D9C-4604-B10F-E34C021A1A47}"/>
              </a:ext>
            </a:extLst>
          </p:cNvPr>
          <p:cNvSpPr/>
          <p:nvPr/>
        </p:nvSpPr>
        <p:spPr>
          <a:xfrm>
            <a:off x="-2543" y="2253175"/>
            <a:ext cx="384288" cy="589336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078">
              <a:defRPr/>
            </a:pPr>
            <a:r>
              <a:rPr lang="nb-NO" sz="2400" b="1">
                <a:solidFill>
                  <a:schemeClr val="tx1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B26A025E-21FC-4250-BCF0-FB81FED56D63}"/>
              </a:ext>
            </a:extLst>
          </p:cNvPr>
          <p:cNvSpPr/>
          <p:nvPr/>
        </p:nvSpPr>
        <p:spPr>
          <a:xfrm>
            <a:off x="131699" y="567100"/>
            <a:ext cx="15911883" cy="1450708"/>
          </a:xfrm>
          <a:prstGeom prst="roundRect">
            <a:avLst>
              <a:gd name="adj" fmla="val 10294"/>
            </a:avLst>
          </a:prstGeom>
          <a:solidFill>
            <a:schemeClr val="bg1">
              <a:lumMod val="95000"/>
            </a:schemeClr>
          </a:solid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endParaRPr lang="nb-NO" sz="1600" b="1">
              <a:solidFill>
                <a:srgbClr val="23344F"/>
              </a:solidFill>
              <a:latin typeface="Arial" panose="020B0604020202020204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97F5B7C-663A-489D-9A98-7FD657C65A6F}"/>
              </a:ext>
            </a:extLst>
          </p:cNvPr>
          <p:cNvSpPr/>
          <p:nvPr/>
        </p:nvSpPr>
        <p:spPr>
          <a:xfrm>
            <a:off x="1147535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1 FÅ BARN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43597D39-CD78-4B7D-A7DD-B28305D61284}"/>
              </a:ext>
            </a:extLst>
          </p:cNvPr>
          <p:cNvSpPr/>
          <p:nvPr/>
        </p:nvSpPr>
        <p:spPr>
          <a:xfrm>
            <a:off x="3168166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2 ALVORLIG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SYKT BARN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96F3E90-70B4-4D5A-A193-368C6F650DD0}"/>
              </a:ext>
            </a:extLst>
          </p:cNvPr>
          <p:cNvSpPr/>
          <p:nvPr/>
        </p:nvSpPr>
        <p:spPr>
          <a:xfrm>
            <a:off x="5188797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5991" tIns="60954" rIns="95991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3 MISTE OG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FINNE JOBB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EFE560B2-D453-4902-8F0C-171FC10F852D}"/>
              </a:ext>
            </a:extLst>
          </p:cNvPr>
          <p:cNvSpPr/>
          <p:nvPr/>
        </p:nvSpPr>
        <p:spPr>
          <a:xfrm>
            <a:off x="7209428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4 NY I NORGE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0C04439E-5A13-47D5-AED1-764B0B89588E}"/>
              </a:ext>
            </a:extLst>
          </p:cNvPr>
          <p:cNvSpPr/>
          <p:nvPr/>
        </p:nvSpPr>
        <p:spPr>
          <a:xfrm>
            <a:off x="9230059" y="1547095"/>
            <a:ext cx="1835562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5 STARTE OG DRIVE EN BEDRIFT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7BC550F-C712-4283-9205-0881ED906BDE}"/>
              </a:ext>
            </a:extLst>
          </p:cNvPr>
          <p:cNvSpPr/>
          <p:nvPr/>
        </p:nvSpPr>
        <p:spPr>
          <a:xfrm>
            <a:off x="11067133" y="1547095"/>
            <a:ext cx="2019119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0954" rIns="0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6 STARTE OG DRIVE EN FRIVILLIG ORGANISASJON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AFCE00AB-688A-4826-8E07-D281822F48F0}"/>
              </a:ext>
            </a:extLst>
          </p:cNvPr>
          <p:cNvSpPr/>
          <p:nvPr/>
        </p:nvSpPr>
        <p:spPr>
          <a:xfrm>
            <a:off x="13087763" y="1547095"/>
            <a:ext cx="2019117" cy="4442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9988" tIns="60954" rIns="119988" bIns="6095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2.7 DØDSFALL</a:t>
            </a:r>
          </a:p>
          <a:p>
            <a:pPr algn="ctr" defTabSz="1219078">
              <a:defRPr/>
            </a:pPr>
            <a:r>
              <a:rPr lang="nb-NO" sz="1050">
                <a:solidFill>
                  <a:prstClr val="black"/>
                </a:solidFill>
                <a:latin typeface="Arial" panose="020B0604020202020204"/>
              </a:rPr>
              <a:t>OG ARV</a:t>
            </a:r>
          </a:p>
        </p:txBody>
      </p:sp>
      <p:pic>
        <p:nvPicPr>
          <p:cNvPr id="124" name="Picture 12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E3EA9E4-29A5-4CB5-BA74-F48D1A9971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039" y="654235"/>
            <a:ext cx="749516" cy="748026"/>
          </a:xfrm>
          <a:prstGeom prst="rect">
            <a:avLst/>
          </a:prstGeom>
        </p:spPr>
      </p:pic>
      <p:pic>
        <p:nvPicPr>
          <p:cNvPr id="125" name="Picture 124" descr="A picture containing drawing&#10;&#10;Description automatically generated">
            <a:extLst>
              <a:ext uri="{FF2B5EF4-FFF2-40B4-BE49-F238E27FC236}">
                <a16:creationId xmlns:a16="http://schemas.microsoft.com/office/drawing/2014/main" id="{A1DBADE8-4162-4A8C-A526-8C9ADD23A8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26" y="658177"/>
            <a:ext cx="749516" cy="748026"/>
          </a:xfrm>
          <a:prstGeom prst="rect">
            <a:avLst/>
          </a:prstGeom>
        </p:spPr>
      </p:pic>
      <p:pic>
        <p:nvPicPr>
          <p:cNvPr id="126" name="Picture 12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6E2A534-2773-4DE3-834F-51D38F86C17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111" y="662457"/>
            <a:ext cx="749516" cy="748026"/>
          </a:xfrm>
          <a:prstGeom prst="rect">
            <a:avLst/>
          </a:prstGeom>
        </p:spPr>
      </p:pic>
      <p:pic>
        <p:nvPicPr>
          <p:cNvPr id="127" name="Picture 126" descr="A close up of a sign&#10;&#10;Description automatically generated">
            <a:extLst>
              <a:ext uri="{FF2B5EF4-FFF2-40B4-BE49-F238E27FC236}">
                <a16:creationId xmlns:a16="http://schemas.microsoft.com/office/drawing/2014/main" id="{1C2E102E-A0CF-4916-A43A-2EE97E89D1D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6371" y="654203"/>
            <a:ext cx="749516" cy="749514"/>
          </a:xfrm>
          <a:prstGeom prst="rect">
            <a:avLst/>
          </a:prstGeom>
        </p:spPr>
      </p:pic>
      <p:pic>
        <p:nvPicPr>
          <p:cNvPr id="128" name="Picture 127" descr="A picture containing drawing, device&#10;&#10;Description automatically generated">
            <a:extLst>
              <a:ext uri="{FF2B5EF4-FFF2-40B4-BE49-F238E27FC236}">
                <a16:creationId xmlns:a16="http://schemas.microsoft.com/office/drawing/2014/main" id="{222A73A8-3E59-4A66-8132-63110405D69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4787" y="654203"/>
            <a:ext cx="749516" cy="749514"/>
          </a:xfrm>
          <a:prstGeom prst="rect">
            <a:avLst/>
          </a:prstGeom>
        </p:spPr>
      </p:pic>
      <p:pic>
        <p:nvPicPr>
          <p:cNvPr id="129" name="Picture 128" descr="A picture containing drawing&#10;&#10;Description automatically generated">
            <a:extLst>
              <a:ext uri="{FF2B5EF4-FFF2-40B4-BE49-F238E27FC236}">
                <a16:creationId xmlns:a16="http://schemas.microsoft.com/office/drawing/2014/main" id="{B421F93E-EC82-411D-8DD9-3D34118B798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448" y="654235"/>
            <a:ext cx="749516" cy="748026"/>
          </a:xfrm>
          <a:prstGeom prst="rect">
            <a:avLst/>
          </a:prstGeom>
        </p:spPr>
      </p:pic>
      <p:pic>
        <p:nvPicPr>
          <p:cNvPr id="130" name="Picture 12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D07EAB-F1DA-442A-8C56-61764E47552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4929" y="654203"/>
            <a:ext cx="749516" cy="751005"/>
          </a:xfrm>
          <a:prstGeom prst="rect">
            <a:avLst/>
          </a:prstGeom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id="{DA5CC988-7DB6-4911-BEDF-96AB1C6DD8C9}"/>
              </a:ext>
            </a:extLst>
          </p:cNvPr>
          <p:cNvSpPr/>
          <p:nvPr/>
        </p:nvSpPr>
        <p:spPr>
          <a:xfrm>
            <a:off x="5861201" y="200047"/>
            <a:ext cx="45320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078">
              <a:defRPr/>
            </a:pPr>
            <a:r>
              <a:rPr lang="nb-NO" sz="1800" b="1">
                <a:solidFill>
                  <a:srgbClr val="000000"/>
                </a:solidFill>
                <a:latin typeface="Arial" panose="020B0604020202020204"/>
              </a:rPr>
              <a:t>Regjeringens 7 prioriterte livshendelser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84AA1FD4-355D-4A9E-8B44-5198E02605CA}"/>
              </a:ext>
            </a:extLst>
          </p:cNvPr>
          <p:cNvSpPr/>
          <p:nvPr/>
        </p:nvSpPr>
        <p:spPr>
          <a:xfrm>
            <a:off x="-2543" y="5946715"/>
            <a:ext cx="16256956" cy="2297174"/>
          </a:xfrm>
          <a:prstGeom prst="rect">
            <a:avLst/>
          </a:prstGeom>
          <a:solidFill>
            <a:srgbClr val="1E2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1F5E0D23-C48B-47B5-9B25-E2FB7D6FCF35}"/>
              </a:ext>
            </a:extLst>
          </p:cNvPr>
          <p:cNvSpPr/>
          <p:nvPr/>
        </p:nvSpPr>
        <p:spPr>
          <a:xfrm>
            <a:off x="-22451" y="6126678"/>
            <a:ext cx="5360398" cy="2117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1600" b="1">
                <a:solidFill>
                  <a:schemeClr val="bg1"/>
                </a:solidFill>
              </a:rPr>
              <a:t>Prosjekt Deling av data</a:t>
            </a:r>
          </a:p>
          <a:p>
            <a:pPr algn="ctr"/>
            <a:endParaRPr lang="nb-NO" sz="1600" b="1">
              <a:solidFill>
                <a:schemeClr val="bg1"/>
              </a:solidFill>
            </a:endParaRPr>
          </a:p>
          <a:p>
            <a:pPr algn="ctr"/>
            <a:r>
              <a:rPr lang="nb-NO" sz="1400">
                <a:solidFill>
                  <a:schemeClr val="bg1"/>
                </a:solidFill>
              </a:rPr>
              <a:t>«Gjennom å gjøre det lettere å dele og bruke data bidrar vi til at offentlig sektor er åpen, effektiv og leverer sammenhengende tjenester med innbyggerne og næringsliv i sentrum»</a:t>
            </a:r>
          </a:p>
          <a:p>
            <a:pPr algn="ctr"/>
            <a:endParaRPr lang="nb-NO" sz="1400">
              <a:solidFill>
                <a:schemeClr val="bg1"/>
              </a:solidFill>
            </a:endParaRPr>
          </a:p>
          <a:p>
            <a:pPr algn="ctr"/>
            <a:r>
              <a:rPr lang="nb-NO" sz="1400">
                <a:solidFill>
                  <a:schemeClr val="bg1"/>
                </a:solidFill>
              </a:rPr>
              <a:t>Nasjonal verktøykasse for deling av data er en del av prosjekt Deling av data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3B1C9C1-749D-473A-9A14-53F54F5CC0DD}"/>
              </a:ext>
            </a:extLst>
          </p:cNvPr>
          <p:cNvSpPr/>
          <p:nvPr/>
        </p:nvSpPr>
        <p:spPr>
          <a:xfrm>
            <a:off x="5396207" y="6126556"/>
            <a:ext cx="5360398" cy="2117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1600" b="1">
                <a:solidFill>
                  <a:schemeClr val="bg1"/>
                </a:solidFill>
              </a:rPr>
              <a:t>Nasjonalt ressurssenter for deling av data</a:t>
            </a:r>
          </a:p>
          <a:p>
            <a:pPr algn="ctr"/>
            <a:endParaRPr lang="nb-NO" sz="1600" b="1">
              <a:solidFill>
                <a:schemeClr val="bg1"/>
              </a:solidFill>
            </a:endParaRPr>
          </a:p>
          <a:p>
            <a:pPr algn="ctr"/>
            <a:r>
              <a:rPr lang="nb-NO" sz="1400">
                <a:solidFill>
                  <a:schemeClr val="bg1"/>
                </a:solidFill>
              </a:rPr>
              <a:t>«Senteret skal fremme deling og bruk av data ved å spre kunnskap og ved å utvikle regelverket på området»</a:t>
            </a:r>
          </a:p>
          <a:p>
            <a:pPr algn="ctr"/>
            <a:endParaRPr lang="nb-NO" sz="1400">
              <a:solidFill>
                <a:schemeClr val="bg1"/>
              </a:solidFill>
            </a:endParaRPr>
          </a:p>
          <a:p>
            <a:pPr algn="ctr"/>
            <a:r>
              <a:rPr lang="nb-NO" sz="1400">
                <a:solidFill>
                  <a:schemeClr val="bg1"/>
                </a:solidFill>
              </a:rPr>
              <a:t>Under piloteringen var ressurssenteret en del av prosjekt Deling av data og tett dialog er opprettholdt i etterkant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AF6FCAE-FC3F-4171-8A8F-DCB3DADB15D2}"/>
              </a:ext>
            </a:extLst>
          </p:cNvPr>
          <p:cNvSpPr/>
          <p:nvPr/>
        </p:nvSpPr>
        <p:spPr>
          <a:xfrm>
            <a:off x="10814866" y="6126678"/>
            <a:ext cx="5360398" cy="2117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1600" b="1">
                <a:solidFill>
                  <a:schemeClr val="bg1"/>
                </a:solidFill>
              </a:rPr>
              <a:t>Datafabrikken</a:t>
            </a:r>
            <a:br>
              <a:rPr lang="nb-NO" sz="1600" b="1">
                <a:solidFill>
                  <a:schemeClr val="bg1"/>
                </a:solidFill>
              </a:rPr>
            </a:br>
            <a:br>
              <a:rPr lang="nb-NO" sz="800" b="1">
                <a:solidFill>
                  <a:schemeClr val="bg1"/>
                </a:solidFill>
              </a:rPr>
            </a:br>
            <a:r>
              <a:rPr lang="nb-NO" sz="1600" b="1">
                <a:solidFill>
                  <a:schemeClr val="bg1"/>
                </a:solidFill>
              </a:rPr>
              <a:t>«</a:t>
            </a:r>
            <a:r>
              <a:rPr lang="nb-NO" sz="1400">
                <a:solidFill>
                  <a:schemeClr val="bg1"/>
                </a:solidFill>
              </a:rPr>
              <a:t>I Datafabrikken får tilbydere og brukere av data tilgang på funksjoner og ressurser som er nødvendige for å skape digitale tjenester og ny næring basert på data. Datafabrikken skal primært være en formidler av data tilgjengelig fra ulike kilder, og en tilrettelegger for at </a:t>
            </a:r>
            <a:r>
              <a:rPr lang="nb-NO" sz="1400" err="1">
                <a:solidFill>
                  <a:schemeClr val="bg1"/>
                </a:solidFill>
              </a:rPr>
              <a:t>SMBer</a:t>
            </a:r>
            <a:r>
              <a:rPr lang="nb-NO" sz="1400">
                <a:solidFill>
                  <a:schemeClr val="bg1"/>
                </a:solidFill>
              </a:rPr>
              <a:t> og oppstartselskaper kan få tak i relevante data og støtte til å bearbeide disse»</a:t>
            </a:r>
            <a:endParaRPr lang="nb-NO" sz="16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EB4689E-1044-429E-8272-72C31CB9F10A}"/>
              </a:ext>
            </a:extLst>
          </p:cNvPr>
          <p:cNvGrpSpPr/>
          <p:nvPr/>
        </p:nvGrpSpPr>
        <p:grpSpPr>
          <a:xfrm>
            <a:off x="121125" y="3146461"/>
            <a:ext cx="5036160" cy="2603483"/>
            <a:chOff x="121125" y="3095661"/>
            <a:chExt cx="5036160" cy="2603483"/>
          </a:xfrm>
        </p:grpSpPr>
        <p:sp>
          <p:nvSpPr>
            <p:cNvPr id="92" name="Rectangle: Rounded Corners 91">
              <a:extLst>
                <a:ext uri="{FF2B5EF4-FFF2-40B4-BE49-F238E27FC236}">
                  <a16:creationId xmlns:a16="http://schemas.microsoft.com/office/drawing/2014/main" id="{5D49B932-71D5-467D-A57B-07E2535DFBFE}"/>
                </a:ext>
              </a:extLst>
            </p:cNvPr>
            <p:cNvSpPr/>
            <p:nvPr/>
          </p:nvSpPr>
          <p:spPr>
            <a:xfrm>
              <a:off x="150602" y="3095661"/>
              <a:ext cx="4962561" cy="2603483"/>
            </a:xfrm>
            <a:prstGeom prst="roundRect">
              <a:avLst>
                <a:gd name="adj" fmla="val 5447"/>
              </a:avLst>
            </a:prstGeom>
            <a:solidFill>
              <a:schemeClr val="bg2">
                <a:lumMod val="90000"/>
                <a:alpha val="59000"/>
              </a:schemeClr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nb-NO" sz="1400">
                <a:solidFill>
                  <a:schemeClr val="tx1"/>
                </a:solidFill>
              </a:endParaRPr>
            </a:p>
          </p:txBody>
        </p: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F10ECDA3-785C-43AC-89E6-8A51FE01FD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337214" y="3290598"/>
              <a:ext cx="589336" cy="589336"/>
            </a:xfrm>
            <a:prstGeom prst="rect">
              <a:avLst/>
            </a:prstGeom>
          </p:spPr>
        </p:pic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1E94A553-DBE4-46D7-80F3-A2813C66686A}"/>
                </a:ext>
              </a:extLst>
            </p:cNvPr>
            <p:cNvSpPr/>
            <p:nvPr/>
          </p:nvSpPr>
          <p:spPr>
            <a:xfrm>
              <a:off x="1310725" y="3879934"/>
              <a:ext cx="2642314" cy="5893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</a:rPr>
                <a:t>Nasjonalt ressurssenter </a:t>
              </a:r>
              <a:br>
                <a:rPr lang="nb-NO" sz="1200" b="1">
                  <a:solidFill>
                    <a:schemeClr val="tx1"/>
                  </a:solidFill>
                </a:rPr>
              </a:br>
              <a:r>
                <a:rPr lang="nb-NO" sz="1200" b="1">
                  <a:solidFill>
                    <a:schemeClr val="tx1"/>
                  </a:solidFill>
                </a:rPr>
                <a:t>for deling av data</a:t>
              </a: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937A0E08-585C-4E17-9432-88F46E28E0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19062" y="4212908"/>
              <a:ext cx="589336" cy="589336"/>
            </a:xfrm>
            <a:prstGeom prst="rect">
              <a:avLst/>
            </a:prstGeom>
          </p:spPr>
        </p:pic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033E02C-1CEF-4FE8-A5D1-EC937DA8A52D}"/>
                </a:ext>
              </a:extLst>
            </p:cNvPr>
            <p:cNvSpPr/>
            <p:nvPr/>
          </p:nvSpPr>
          <p:spPr>
            <a:xfrm>
              <a:off x="121125" y="4873791"/>
              <a:ext cx="1985210" cy="5893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</a:rPr>
                <a:t>Nasjonal verktøykasse for deling av data</a:t>
              </a: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51DA33C0-9716-42A0-B99B-7EE11CAA0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3966399" y="4209670"/>
              <a:ext cx="589336" cy="589336"/>
            </a:xfrm>
            <a:prstGeom prst="rect">
              <a:avLst/>
            </a:prstGeom>
          </p:spPr>
        </p:pic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687E69E-07A2-4C3C-8FD4-30CDFA2CB011}"/>
                </a:ext>
              </a:extLst>
            </p:cNvPr>
            <p:cNvSpPr/>
            <p:nvPr/>
          </p:nvSpPr>
          <p:spPr>
            <a:xfrm>
              <a:off x="3352549" y="4873791"/>
              <a:ext cx="1804736" cy="5893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nb-NO" sz="1200" b="1">
                  <a:solidFill>
                    <a:schemeClr val="tx1"/>
                  </a:solidFill>
                </a:rPr>
                <a:t>Datafabrikken</a:t>
              </a: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C80010C1-A316-45CD-9D63-743E0713159F}"/>
                </a:ext>
              </a:extLst>
            </p:cNvPr>
            <p:cNvSpPr/>
            <p:nvPr/>
          </p:nvSpPr>
          <p:spPr>
            <a:xfrm>
              <a:off x="2708608" y="3572568"/>
              <a:ext cx="1480128" cy="1089465"/>
            </a:xfrm>
            <a:prstGeom prst="arc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A7B31152-2007-44A6-8FE3-5D49E4CF28B3}"/>
                </a:ext>
              </a:extLst>
            </p:cNvPr>
            <p:cNvSpPr/>
            <p:nvPr/>
          </p:nvSpPr>
          <p:spPr>
            <a:xfrm>
              <a:off x="1109257" y="3570867"/>
              <a:ext cx="1480128" cy="1089465"/>
            </a:xfrm>
            <a:prstGeom prst="arc">
              <a:avLst>
                <a:gd name="adj1" fmla="val 11116435"/>
                <a:gd name="adj2" fmla="val 16255488"/>
              </a:avLst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5" name="Arc 94">
              <a:extLst>
                <a:ext uri="{FF2B5EF4-FFF2-40B4-BE49-F238E27FC236}">
                  <a16:creationId xmlns:a16="http://schemas.microsoft.com/office/drawing/2014/main" id="{99631B69-EFE9-4334-919A-D0225A38784E}"/>
                </a:ext>
              </a:extLst>
            </p:cNvPr>
            <p:cNvSpPr/>
            <p:nvPr/>
          </p:nvSpPr>
          <p:spPr>
            <a:xfrm rot="10800000">
              <a:off x="1265293" y="5168459"/>
              <a:ext cx="2784909" cy="439359"/>
            </a:xfrm>
            <a:prstGeom prst="arc">
              <a:avLst>
                <a:gd name="adj1" fmla="val 10945607"/>
                <a:gd name="adj2" fmla="val 0"/>
              </a:avLst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FC9CA89-87AC-4E73-8D22-F93024583CC2}"/>
              </a:ext>
            </a:extLst>
          </p:cNvPr>
          <p:cNvCxnSpPr>
            <a:cxnSpLocks/>
            <a:stCxn id="92" idx="0"/>
          </p:cNvCxnSpPr>
          <p:nvPr/>
        </p:nvCxnSpPr>
        <p:spPr>
          <a:xfrm flipV="1">
            <a:off x="2631883" y="2842511"/>
            <a:ext cx="0" cy="303950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9C2B480-924F-49BB-9BA4-A4183E061AB7}"/>
              </a:ext>
            </a:extLst>
          </p:cNvPr>
          <p:cNvSpPr/>
          <p:nvPr/>
        </p:nvSpPr>
        <p:spPr>
          <a:xfrm>
            <a:off x="5422604" y="3146461"/>
            <a:ext cx="10620978" cy="2603483"/>
          </a:xfrm>
          <a:prstGeom prst="roundRect">
            <a:avLst>
              <a:gd name="adj" fmla="val 6423"/>
            </a:avLst>
          </a:prstGeom>
          <a:solidFill>
            <a:schemeClr val="bg2">
              <a:lumMod val="90000"/>
              <a:alpha val="59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1400">
                <a:solidFill>
                  <a:schemeClr val="tx1"/>
                </a:solidFill>
              </a:rPr>
              <a:t>Regjeringen vil i kapittel 3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1400">
                <a:solidFill>
                  <a:schemeClr val="tx1"/>
                </a:solidFill>
              </a:rPr>
              <a:t>Etablere et nasjonalt ressurssenter for deling av data med spisskompetanse på sammenhengen mellom juss, teknologi, forretnings- og forvaltningsprosesser som læremiljø og kompetansebank for hele offentlig sektor </a:t>
            </a:r>
          </a:p>
          <a:p>
            <a:pPr>
              <a:spcAft>
                <a:spcPts val="600"/>
              </a:spcAft>
            </a:pPr>
            <a:r>
              <a:rPr lang="nb-NO" sz="140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nb-NO" sz="1400" b="1">
                <a:solidFill>
                  <a:schemeClr val="tx1"/>
                </a:solidFill>
                <a:sym typeface="Wingdings" panose="05000000000000000000" pitchFamily="2" charset="2"/>
              </a:rPr>
              <a:t>Nasjonalt ressurssenter for deling av dat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1400">
                <a:solidFill>
                  <a:schemeClr val="tx1"/>
                </a:solidFill>
                <a:sym typeface="Wingdings" panose="05000000000000000000" pitchFamily="2" charset="2"/>
              </a:rPr>
              <a:t>I samarbeid med KS vurdere å benytte eksisterende datasjøer (samlinger av store datamengder), herunder regionale og virksomhetsinterne datasjøer, som skal kunne understøtte dataanalyser og tjenesteutvikling </a:t>
            </a:r>
          </a:p>
          <a:p>
            <a:pPr>
              <a:spcAft>
                <a:spcPts val="600"/>
              </a:spcAft>
            </a:pPr>
            <a:r>
              <a:rPr lang="nb-NO" sz="140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nb-NO" sz="1400" b="1">
                <a:solidFill>
                  <a:schemeClr val="tx1"/>
                </a:solidFill>
                <a:sym typeface="Wingdings" panose="05000000000000000000" pitchFamily="2" charset="2"/>
              </a:rPr>
              <a:t>Datafabrikk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1400">
                <a:solidFill>
                  <a:schemeClr val="tx1"/>
                </a:solidFill>
                <a:sym typeface="Wingdings" panose="05000000000000000000" pitchFamily="2" charset="2"/>
              </a:rPr>
              <a:t>I samarbeid med KS utrede en generisk datafordeler (=Nasjonal verktøykasse for deling av data) som blant annet innebærer kunnskap og metodikk for hvordan data kan deles på en forsvarlig måte gjennom å fastsette prinsipper for ansvar, kostnadsdekning og gevinstuttak </a:t>
            </a:r>
          </a:p>
          <a:p>
            <a:r>
              <a:rPr lang="nb-NO" sz="1400">
                <a:solidFill>
                  <a:schemeClr val="tx1"/>
                </a:solidFill>
                <a:sym typeface="Wingdings" panose="05000000000000000000" pitchFamily="2" charset="2"/>
              </a:rPr>
              <a:t>	 </a:t>
            </a:r>
            <a:r>
              <a:rPr lang="nb-NO" sz="1400" b="1">
                <a:solidFill>
                  <a:schemeClr val="tx1"/>
                </a:solidFill>
                <a:sym typeface="Wingdings" panose="05000000000000000000" pitchFamily="2" charset="2"/>
              </a:rPr>
              <a:t>Nasjonal verktøykasse for deling av dat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b-NO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193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47FF64E-5986-46EC-BA1E-898D7A4D9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47FF64E-5986-46EC-BA1E-898D7A4D9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1" name="Table 120">
            <a:extLst>
              <a:ext uri="{FF2B5EF4-FFF2-40B4-BE49-F238E27FC236}">
                <a16:creationId xmlns:a16="http://schemas.microsoft.com/office/drawing/2014/main" id="{17037382-E1B3-490D-B2B4-07D49BEBBDE8}"/>
              </a:ext>
            </a:extLst>
          </p:cNvPr>
          <p:cNvGraphicFramePr>
            <a:graphicFrameLocks noGrp="1"/>
          </p:cNvGraphicFramePr>
          <p:nvPr/>
        </p:nvGraphicFramePr>
        <p:xfrm>
          <a:off x="534750" y="3248526"/>
          <a:ext cx="15100662" cy="4843716"/>
        </p:xfrm>
        <a:graphic>
          <a:graphicData uri="http://schemas.openxmlformats.org/drawingml/2006/table">
            <a:tbl>
              <a:tblPr firstRow="1" bandRow="1"/>
              <a:tblGrid>
                <a:gridCol w="7550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50331">
                  <a:extLst>
                    <a:ext uri="{9D8B030D-6E8A-4147-A177-3AD203B41FA5}">
                      <a16:colId xmlns:a16="http://schemas.microsoft.com/office/drawing/2014/main" val="1794850092"/>
                    </a:ext>
                  </a:extLst>
                </a:gridCol>
              </a:tblGrid>
              <a:tr h="3221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/>
                      <a:r>
                        <a:rPr lang="nb-NO" sz="200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H1 2020</a:t>
                      </a:r>
                    </a:p>
                  </a:txBody>
                  <a:tcPr marL="121908" marR="121908" marT="60954" marB="60954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nb-NO" sz="2000" b="1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H2 2020</a:t>
                      </a:r>
                    </a:p>
                  </a:txBody>
                  <a:tcPr marL="121908" marR="121908" marT="60954" marB="60954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rtl="0">
                        <a:buFontTx/>
                        <a:buNone/>
                      </a:pPr>
                      <a:r>
                        <a:rPr lang="nb-NO" sz="1400" b="1" i="0">
                          <a:solidFill>
                            <a:srgbClr val="000000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Pilotversjon av Nasjonalt ressurssenter for deling av data</a:t>
                      </a: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Åpnet Nasjonalt ressurssenter for deling av data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2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Gjennomført første </a:t>
                      </a:r>
                      <a:r>
                        <a:rPr lang="nb-NO" sz="1400" b="1" err="1"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innspillsmøte</a:t>
                      </a:r>
                      <a:r>
                        <a:rPr lang="nb-NO" sz="1400" b="1"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 med privat næringsliv</a:t>
                      </a: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Startet arbeid med virksomhetsidentiteter – laget innsiktsrapport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2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Levert forslag til løsning for innspill om digitaliseringsvennlig regelverk</a:t>
                      </a:r>
                      <a:endParaRPr lang="nb-NO" sz="1400">
                        <a:solidFill>
                          <a:srgbClr val="000000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rtl="0" eaLnBrk="1"/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artet arbeid med masterdata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21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400" b="1">
                          <a:latin typeface="Segoe UI"/>
                          <a:ea typeface="Open Sans" panose="020B0606030504020204" pitchFamily="34" charset="0"/>
                          <a:cs typeface="Segoe UI"/>
                        </a:rPr>
                        <a:t>Ukentlige nasjonale møter knyttet til informasjonsforvaltning</a:t>
                      </a:r>
                      <a:endParaRPr lang="nb-NO" sz="1400">
                        <a:solidFill>
                          <a:srgbClr val="000000"/>
                        </a:solidFill>
                        <a:latin typeface="Segoe UI"/>
                        <a:ea typeface="Open Sans" panose="020B0606030504020204" pitchFamily="34" charset="0"/>
                        <a:cs typeface="Segoe UI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Gjennomført to </a:t>
                      </a:r>
                      <a:r>
                        <a:rPr lang="nb-NO" sz="1400" b="1" kern="1200" err="1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webinar</a:t>
                      </a: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 i Fagforum for kunstig intelligens i offentlig sektor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21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Sammenslått data.norge.no og Felles datakatalog</a:t>
                      </a:r>
                      <a:endParaRPr lang="nb-NO" sz="1400">
                        <a:solidFill>
                          <a:srgbClr val="000000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Koordinert arbeid med veileder for tilgjengeliggjøring av språkdata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052118"/>
                  </a:ext>
                </a:extLst>
              </a:tr>
              <a:tr h="5521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Skisse til Nasjonal verktøykasse for deling av data</a:t>
                      </a:r>
                      <a:endParaRPr lang="nb-NO" sz="1400">
                        <a:solidFill>
                          <a:srgbClr val="000000"/>
                        </a:solidFill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Gjennomført møte med samarbeidsprosjekter knyttet til deling av data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122412"/>
                  </a:ext>
                </a:extLst>
              </a:tr>
              <a:tr h="5521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i="0" u="none" strike="noStrike">
                        <a:solidFill>
                          <a:srgbClr val="5B9BD5"/>
                        </a:solidFill>
                        <a:effectLst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Startet innledende arbeid i forbindelse med etablering av Datafabrikken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8809084"/>
                  </a:ext>
                </a:extLst>
              </a:tr>
              <a:tr h="55212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400" b="0" i="0" u="none" strike="noStrike">
                        <a:solidFill>
                          <a:srgbClr val="5B9BD5"/>
                        </a:solidFill>
                        <a:effectLst/>
                        <a:latin typeface="Segoe UI" panose="020B0502040204020203" pitchFamily="34" charset="0"/>
                        <a:ea typeface="Open Sans" panose="020B0606030504020204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dk1"/>
                          </a:solidFill>
                          <a:latin typeface="Segoe UI" panose="020B0502040204020203" pitchFamily="34" charset="0"/>
                          <a:ea typeface="Open Sans" panose="020B0606030504020204" pitchFamily="34" charset="0"/>
                          <a:cs typeface="Segoe UI" panose="020B0502040204020203" pitchFamily="34" charset="0"/>
                        </a:rPr>
                        <a:t>Videreutviklet og jobbet mot publisering av Nasjonal verktøykasse for deling av data</a:t>
                      </a:r>
                      <a:endParaRPr lang="nb-NO" sz="1400" kern="1200">
                        <a:solidFill>
                          <a:srgbClr val="00000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383963" marR="47995" marT="23998" marB="23998" anchor="ctr">
                    <a:lnL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562422"/>
                  </a:ext>
                </a:extLst>
              </a:tr>
            </a:tbl>
          </a:graphicData>
        </a:graphic>
      </p:graphicFrame>
      <p:pic>
        <p:nvPicPr>
          <p:cNvPr id="166" name="Picture 165">
            <a:extLst>
              <a:ext uri="{FF2B5EF4-FFF2-40B4-BE49-F238E27FC236}">
                <a16:creationId xmlns:a16="http://schemas.microsoft.com/office/drawing/2014/main" id="{A8973F8F-F276-4278-B3C2-8D71DA7F007C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12000" y="4957141"/>
            <a:ext cx="191981" cy="191981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3E4ADFC3-63F9-454A-A97D-C956A1DC8207}"/>
              </a:ext>
            </a:extLst>
          </p:cNvPr>
          <p:cNvGrpSpPr/>
          <p:nvPr/>
        </p:nvGrpSpPr>
        <p:grpSpPr>
          <a:xfrm>
            <a:off x="6143896" y="8470208"/>
            <a:ext cx="3949967" cy="282241"/>
            <a:chOff x="6143896" y="8470208"/>
            <a:chExt cx="3949967" cy="282241"/>
          </a:xfrm>
        </p:grpSpPr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5D3449BC-466B-452C-8754-3607F80B964C}"/>
                </a:ext>
              </a:extLst>
            </p:cNvPr>
            <p:cNvSpPr txBox="1"/>
            <p:nvPr/>
          </p:nvSpPr>
          <p:spPr>
            <a:xfrm>
              <a:off x="9181952" y="8470208"/>
              <a:ext cx="9119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078">
                <a:defRPr/>
              </a:pPr>
              <a:r>
                <a:rPr lang="nb-NO" sz="1200" b="1">
                  <a:solidFill>
                    <a:srgbClr val="3F3F3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Fullført</a:t>
              </a:r>
            </a:p>
          </p:txBody>
        </p:sp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BBBAD2AF-4953-4355-928D-567F7D6C34F8}"/>
                </a:ext>
              </a:extLst>
            </p:cNvPr>
            <p:cNvPicPr>
              <a:picLocks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89971" y="8512843"/>
              <a:ext cx="191981" cy="191981"/>
            </a:xfrm>
            <a:prstGeom prst="rect">
              <a:avLst/>
            </a:prstGeom>
          </p:spPr>
        </p:pic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0BACFC42-0BDE-4B5C-93C2-65D547CC0074}"/>
                </a:ext>
              </a:extLst>
            </p:cNvPr>
            <p:cNvSpPr txBox="1"/>
            <p:nvPr/>
          </p:nvSpPr>
          <p:spPr>
            <a:xfrm>
              <a:off x="6335877" y="8475450"/>
              <a:ext cx="239012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078">
                <a:defRPr/>
              </a:pPr>
              <a:r>
                <a:rPr lang="nb-NO" sz="1200" b="1">
                  <a:solidFill>
                    <a:srgbClr val="3F3F3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ågår/gjentakende aktivitet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D12C5EB-C38E-4262-8BBB-28543FB6AD08}"/>
                </a:ext>
              </a:extLst>
            </p:cNvPr>
            <p:cNvPicPr>
              <a:picLocks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143896" y="8512844"/>
              <a:ext cx="191981" cy="191981"/>
            </a:xfrm>
            <a:prstGeom prst="rect">
              <a:avLst/>
            </a:prstGeom>
          </p:spPr>
        </p:pic>
      </p:grpSp>
      <p:pic>
        <p:nvPicPr>
          <p:cNvPr id="170" name="Picture 169">
            <a:extLst>
              <a:ext uri="{FF2B5EF4-FFF2-40B4-BE49-F238E27FC236}">
                <a16:creationId xmlns:a16="http://schemas.microsoft.com/office/drawing/2014/main" id="{307DAB77-3F3E-42E0-9C98-397CA3D141BC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12000" y="6613255"/>
            <a:ext cx="191981" cy="191981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9A3B47B6-FE98-4E3A-BAB0-4698673715A1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12000" y="6061217"/>
            <a:ext cx="191981" cy="191981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0274A8F4-4030-4277-AB55-25F13F22E439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12000" y="3853065"/>
            <a:ext cx="191981" cy="191981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4EA7260E-6F82-45DD-955E-F1EA8B3BF342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612000" y="5509179"/>
            <a:ext cx="191981" cy="191981"/>
          </a:xfrm>
          <a:prstGeom prst="rect">
            <a:avLst/>
          </a:prstGeom>
        </p:spPr>
      </p:pic>
      <p:pic>
        <p:nvPicPr>
          <p:cNvPr id="158" name="Picture 157">
            <a:extLst>
              <a:ext uri="{FF2B5EF4-FFF2-40B4-BE49-F238E27FC236}">
                <a16:creationId xmlns:a16="http://schemas.microsoft.com/office/drawing/2014/main" id="{90EDCD89-0A31-4370-9D7D-DCF9371A3591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8195124" y="3853065"/>
            <a:ext cx="191981" cy="191981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E51919B1-C248-491A-854E-C2C931AD0CE9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4" y="4409627"/>
            <a:ext cx="191981" cy="191981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4121E586-9BC7-4BF3-A5ED-EADA03767BB4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4" y="4952616"/>
            <a:ext cx="191981" cy="191981"/>
          </a:xfrm>
          <a:prstGeom prst="rect">
            <a:avLst/>
          </a:prstGeom>
        </p:spPr>
      </p:pic>
      <p:pic>
        <p:nvPicPr>
          <p:cNvPr id="178" name="Picture 177">
            <a:extLst>
              <a:ext uri="{FF2B5EF4-FFF2-40B4-BE49-F238E27FC236}">
                <a16:creationId xmlns:a16="http://schemas.microsoft.com/office/drawing/2014/main" id="{8E728797-AC6C-4EA6-9A3D-56A5AF8703E1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4" y="6058953"/>
            <a:ext cx="191981" cy="191981"/>
          </a:xfrm>
          <a:prstGeom prst="rect">
            <a:avLst/>
          </a:prstGeom>
        </p:spPr>
      </p:pic>
      <p:pic>
        <p:nvPicPr>
          <p:cNvPr id="187" name="Picture 186">
            <a:extLst>
              <a:ext uri="{FF2B5EF4-FFF2-40B4-BE49-F238E27FC236}">
                <a16:creationId xmlns:a16="http://schemas.microsoft.com/office/drawing/2014/main" id="{F8590606-F1F2-4449-A056-3EC78BF75CC4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3" y="7162400"/>
            <a:ext cx="191981" cy="191981"/>
          </a:xfrm>
          <a:prstGeom prst="rect">
            <a:avLst/>
          </a:prstGeom>
        </p:spPr>
      </p:pic>
      <p:pic>
        <p:nvPicPr>
          <p:cNvPr id="213" name="Picture 212">
            <a:extLst>
              <a:ext uri="{FF2B5EF4-FFF2-40B4-BE49-F238E27FC236}">
                <a16:creationId xmlns:a16="http://schemas.microsoft.com/office/drawing/2014/main" id="{FB4386B8-B3D3-42D1-A739-DB9B290BABC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2" y="7718962"/>
            <a:ext cx="191981" cy="191981"/>
          </a:xfrm>
          <a:prstGeom prst="rect">
            <a:avLst/>
          </a:prstGeom>
        </p:spPr>
      </p:pic>
      <p:pic>
        <p:nvPicPr>
          <p:cNvPr id="214" name="Picture 213">
            <a:extLst>
              <a:ext uri="{FF2B5EF4-FFF2-40B4-BE49-F238E27FC236}">
                <a16:creationId xmlns:a16="http://schemas.microsoft.com/office/drawing/2014/main" id="{931EC29B-0FE1-4C20-835B-051712E9627B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2" y="6619411"/>
            <a:ext cx="191981" cy="191981"/>
          </a:xfrm>
          <a:prstGeom prst="rect">
            <a:avLst/>
          </a:prstGeom>
        </p:spPr>
      </p:pic>
      <p:pic>
        <p:nvPicPr>
          <p:cNvPr id="215" name="Picture 214">
            <a:extLst>
              <a:ext uri="{FF2B5EF4-FFF2-40B4-BE49-F238E27FC236}">
                <a16:creationId xmlns:a16="http://schemas.microsoft.com/office/drawing/2014/main" id="{35658B7F-3FD5-421A-A34E-6AC05FA28478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8195122" y="5523429"/>
            <a:ext cx="191981" cy="191981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278DA24-DBD7-47B9-96BB-EF9938C6DB75}"/>
              </a:ext>
            </a:extLst>
          </p:cNvPr>
          <p:cNvSpPr/>
          <p:nvPr/>
        </p:nvSpPr>
        <p:spPr>
          <a:xfrm>
            <a:off x="402462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ilot Nasjonalt ressurssenter</a:t>
            </a:r>
          </a:p>
        </p:txBody>
      </p:sp>
      <p:sp>
        <p:nvSpPr>
          <p:cNvPr id="216" name="Graphic 13">
            <a:extLst>
              <a:ext uri="{FF2B5EF4-FFF2-40B4-BE49-F238E27FC236}">
                <a16:creationId xmlns:a16="http://schemas.microsoft.com/office/drawing/2014/main" id="{382455CF-495F-4A15-A974-8BDBF41F1715}"/>
              </a:ext>
            </a:extLst>
          </p:cNvPr>
          <p:cNvSpPr/>
          <p:nvPr/>
        </p:nvSpPr>
        <p:spPr>
          <a:xfrm rot="10800000">
            <a:off x="731015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AFF11735-0A55-4B5B-9395-39DB7644CBB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6504" y="1710000"/>
            <a:ext cx="332721" cy="332721"/>
          </a:xfrm>
          <a:prstGeom prst="rect">
            <a:avLst/>
          </a:prstGeom>
        </p:spPr>
      </p:pic>
      <p:sp>
        <p:nvSpPr>
          <p:cNvPr id="217" name="Graphic 13">
            <a:extLst>
              <a:ext uri="{FF2B5EF4-FFF2-40B4-BE49-F238E27FC236}">
                <a16:creationId xmlns:a16="http://schemas.microsoft.com/office/drawing/2014/main" id="{6A5DCDBC-F96E-4720-9EE7-4583ADB5CBA7}"/>
              </a:ext>
            </a:extLst>
          </p:cNvPr>
          <p:cNvSpPr/>
          <p:nvPr/>
        </p:nvSpPr>
        <p:spPr>
          <a:xfrm rot="10800000">
            <a:off x="1830838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A78A9E3F-77B2-4218-AB2F-C2A0D6656CB6}"/>
              </a:ext>
            </a:extLst>
          </p:cNvPr>
          <p:cNvSpPr/>
          <p:nvPr/>
        </p:nvSpPr>
        <p:spPr>
          <a:xfrm>
            <a:off x="1502285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nspillsmøte</a:t>
            </a:r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rivat næringsliv</a:t>
            </a: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3B830D3C-94C7-4399-BBAF-D8BBAE7D865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06485" y="1710000"/>
            <a:ext cx="332721" cy="332721"/>
          </a:xfrm>
          <a:prstGeom prst="rect">
            <a:avLst/>
          </a:prstGeom>
        </p:spPr>
      </p:pic>
      <p:sp>
        <p:nvSpPr>
          <p:cNvPr id="218" name="Graphic 13">
            <a:extLst>
              <a:ext uri="{FF2B5EF4-FFF2-40B4-BE49-F238E27FC236}">
                <a16:creationId xmlns:a16="http://schemas.microsoft.com/office/drawing/2014/main" id="{5CF8DDAB-C592-4D5D-8932-33ADCD6557DF}"/>
              </a:ext>
            </a:extLst>
          </p:cNvPr>
          <p:cNvSpPr/>
          <p:nvPr/>
        </p:nvSpPr>
        <p:spPr>
          <a:xfrm rot="10800000">
            <a:off x="2930661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E4E9BA94-4616-454E-BD6A-1D1042F4473E}"/>
              </a:ext>
            </a:extLst>
          </p:cNvPr>
          <p:cNvSpPr/>
          <p:nvPr/>
        </p:nvSpPr>
        <p:spPr>
          <a:xfrm>
            <a:off x="2602108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gitaliserings-vennlig regelverk</a:t>
            </a:r>
          </a:p>
        </p:txBody>
      </p:sp>
      <p:pic>
        <p:nvPicPr>
          <p:cNvPr id="249" name="Graphic 248">
            <a:extLst>
              <a:ext uri="{FF2B5EF4-FFF2-40B4-BE49-F238E27FC236}">
                <a16:creationId xmlns:a16="http://schemas.microsoft.com/office/drawing/2014/main" id="{17C22DB2-C4C1-4668-AE79-ABAE19F24EA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06309" y="1710591"/>
            <a:ext cx="332721" cy="332721"/>
          </a:xfrm>
          <a:prstGeom prst="rect">
            <a:avLst/>
          </a:prstGeom>
        </p:spPr>
      </p:pic>
      <p:sp>
        <p:nvSpPr>
          <p:cNvPr id="221" name="Graphic 13">
            <a:extLst>
              <a:ext uri="{FF2B5EF4-FFF2-40B4-BE49-F238E27FC236}">
                <a16:creationId xmlns:a16="http://schemas.microsoft.com/office/drawing/2014/main" id="{7C9A73A2-3750-4F09-A318-1AF170A78B41}"/>
              </a:ext>
            </a:extLst>
          </p:cNvPr>
          <p:cNvSpPr/>
          <p:nvPr/>
        </p:nvSpPr>
        <p:spPr>
          <a:xfrm rot="10800000">
            <a:off x="6230130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5BEE9E8D-D626-4F3E-A6D4-736C87DA24DB}"/>
              </a:ext>
            </a:extLst>
          </p:cNvPr>
          <p:cNvSpPr/>
          <p:nvPr/>
        </p:nvSpPr>
        <p:spPr>
          <a:xfrm>
            <a:off x="5901577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kisse nasjonal verktøykasse</a:t>
            </a:r>
          </a:p>
        </p:txBody>
      </p:sp>
      <p:pic>
        <p:nvPicPr>
          <p:cNvPr id="251" name="Graphic 250">
            <a:extLst>
              <a:ext uri="{FF2B5EF4-FFF2-40B4-BE49-F238E27FC236}">
                <a16:creationId xmlns:a16="http://schemas.microsoft.com/office/drawing/2014/main" id="{EDA0459D-1295-4A2D-9594-EFF8CCBE7EB7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299223" y="1702638"/>
            <a:ext cx="332721" cy="332721"/>
          </a:xfrm>
          <a:prstGeom prst="rect">
            <a:avLst/>
          </a:prstGeom>
        </p:spPr>
      </p:pic>
      <p:sp>
        <p:nvSpPr>
          <p:cNvPr id="230" name="Graphic 13">
            <a:extLst>
              <a:ext uri="{FF2B5EF4-FFF2-40B4-BE49-F238E27FC236}">
                <a16:creationId xmlns:a16="http://schemas.microsoft.com/office/drawing/2014/main" id="{FF7AC28A-A90A-4273-811C-A8A6ACA86E06}"/>
              </a:ext>
            </a:extLst>
          </p:cNvPr>
          <p:cNvSpPr/>
          <p:nvPr/>
        </p:nvSpPr>
        <p:spPr>
          <a:xfrm rot="10800000">
            <a:off x="15057468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E0D02183-5D2A-4DBE-83EF-329B9B42B8AC}"/>
              </a:ext>
            </a:extLst>
          </p:cNvPr>
          <p:cNvSpPr/>
          <p:nvPr/>
        </p:nvSpPr>
        <p:spPr>
          <a:xfrm>
            <a:off x="14700165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dereutviklet nasjonal verktøykasse</a:t>
            </a:r>
          </a:p>
        </p:txBody>
      </p:sp>
      <p:pic>
        <p:nvPicPr>
          <p:cNvPr id="253" name="Graphic 252">
            <a:extLst>
              <a:ext uri="{FF2B5EF4-FFF2-40B4-BE49-F238E27FC236}">
                <a16:creationId xmlns:a16="http://schemas.microsoft.com/office/drawing/2014/main" id="{E6D2F62B-0A3C-4428-9BAD-94846B9D8FF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5133115" y="1710000"/>
            <a:ext cx="332721" cy="332721"/>
          </a:xfrm>
          <a:prstGeom prst="rect">
            <a:avLst/>
          </a:prstGeom>
        </p:spPr>
      </p:pic>
      <p:sp>
        <p:nvSpPr>
          <p:cNvPr id="219" name="Graphic 13">
            <a:extLst>
              <a:ext uri="{FF2B5EF4-FFF2-40B4-BE49-F238E27FC236}">
                <a16:creationId xmlns:a16="http://schemas.microsoft.com/office/drawing/2014/main" id="{772EDF16-9A82-45ED-A99B-478F9A122D8D}"/>
              </a:ext>
            </a:extLst>
          </p:cNvPr>
          <p:cNvSpPr/>
          <p:nvPr/>
        </p:nvSpPr>
        <p:spPr>
          <a:xfrm rot="10800000">
            <a:off x="4030484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985CBC36-8F2B-41A8-83CE-C8A1ACA34953}"/>
              </a:ext>
            </a:extLst>
          </p:cNvPr>
          <p:cNvSpPr/>
          <p:nvPr/>
        </p:nvSpPr>
        <p:spPr>
          <a:xfrm>
            <a:off x="3701931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/>
                <a:cs typeface="Segoe UI"/>
              </a:rPr>
              <a:t>Møter om </a:t>
            </a:r>
            <a:r>
              <a:rPr lang="nb-NO" sz="1100" err="1">
                <a:solidFill>
                  <a:schemeClr val="tx1"/>
                </a:solidFill>
                <a:latin typeface="Segoe UI"/>
                <a:cs typeface="Segoe UI"/>
              </a:rPr>
              <a:t>informsjons</a:t>
            </a:r>
            <a:r>
              <a:rPr lang="nb-NO" sz="1100">
                <a:solidFill>
                  <a:schemeClr val="tx1"/>
                </a:solidFill>
                <a:latin typeface="Segoe UI"/>
                <a:cs typeface="Segoe UI"/>
              </a:rPr>
              <a:t>-forvaltning </a:t>
            </a:r>
            <a:endParaRPr lang="nb-NO" sz="110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55" name="Graphic 254">
            <a:extLst>
              <a:ext uri="{FF2B5EF4-FFF2-40B4-BE49-F238E27FC236}">
                <a16:creationId xmlns:a16="http://schemas.microsoft.com/office/drawing/2014/main" id="{A4BF5C55-EAEC-4CC5-95B5-D33DF7C2054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106131" y="1710000"/>
            <a:ext cx="332721" cy="332721"/>
          </a:xfrm>
          <a:prstGeom prst="rect">
            <a:avLst/>
          </a:prstGeom>
        </p:spPr>
      </p:pic>
      <p:sp>
        <p:nvSpPr>
          <p:cNvPr id="220" name="Graphic 13">
            <a:extLst>
              <a:ext uri="{FF2B5EF4-FFF2-40B4-BE49-F238E27FC236}">
                <a16:creationId xmlns:a16="http://schemas.microsoft.com/office/drawing/2014/main" id="{C7777D59-3EDD-481C-812F-4C408307ACBE}"/>
              </a:ext>
            </a:extLst>
          </p:cNvPr>
          <p:cNvSpPr/>
          <p:nvPr/>
        </p:nvSpPr>
        <p:spPr>
          <a:xfrm rot="10800000">
            <a:off x="5130307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EDCD8314-4067-4699-93A2-C7370EABBCE5}"/>
              </a:ext>
            </a:extLst>
          </p:cNvPr>
          <p:cNvSpPr/>
          <p:nvPr/>
        </p:nvSpPr>
        <p:spPr>
          <a:xfrm>
            <a:off x="4801754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lles datakatalog</a:t>
            </a:r>
          </a:p>
        </p:txBody>
      </p:sp>
      <p:pic>
        <p:nvPicPr>
          <p:cNvPr id="87" name="Graphic 86">
            <a:extLst>
              <a:ext uri="{FF2B5EF4-FFF2-40B4-BE49-F238E27FC236}">
                <a16:creationId xmlns:a16="http://schemas.microsoft.com/office/drawing/2014/main" id="{6570085E-5436-48C4-AB2E-8BE84D8BA633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205956" y="1710590"/>
            <a:ext cx="332721" cy="332721"/>
          </a:xfrm>
          <a:prstGeom prst="rect">
            <a:avLst/>
          </a:prstGeom>
        </p:spPr>
      </p:pic>
      <p:sp>
        <p:nvSpPr>
          <p:cNvPr id="223" name="Graphic 13">
            <a:extLst>
              <a:ext uri="{FF2B5EF4-FFF2-40B4-BE49-F238E27FC236}">
                <a16:creationId xmlns:a16="http://schemas.microsoft.com/office/drawing/2014/main" id="{473DD8AB-126C-413A-ACB4-3612B7D4F617}"/>
              </a:ext>
            </a:extLst>
          </p:cNvPr>
          <p:cNvSpPr/>
          <p:nvPr/>
        </p:nvSpPr>
        <p:spPr>
          <a:xfrm rot="10800000">
            <a:off x="7329953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E3AB9CCA-631D-453A-A013-D7049B73330D}"/>
              </a:ext>
            </a:extLst>
          </p:cNvPr>
          <p:cNvSpPr/>
          <p:nvPr/>
        </p:nvSpPr>
        <p:spPr>
          <a:xfrm>
            <a:off x="7001400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Åpning Nasjonalt ressurssenter</a:t>
            </a:r>
          </a:p>
        </p:txBody>
      </p:sp>
      <p:pic>
        <p:nvPicPr>
          <p:cNvPr id="92" name="Graphic 91">
            <a:extLst>
              <a:ext uri="{FF2B5EF4-FFF2-40B4-BE49-F238E27FC236}">
                <a16:creationId xmlns:a16="http://schemas.microsoft.com/office/drawing/2014/main" id="{B55A074A-13F1-4927-AD2A-A23A8B135F1B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7405600" y="1710590"/>
            <a:ext cx="332721" cy="332721"/>
          </a:xfrm>
          <a:prstGeom prst="rect">
            <a:avLst/>
          </a:prstGeom>
        </p:spPr>
      </p:pic>
      <p:sp>
        <p:nvSpPr>
          <p:cNvPr id="225" name="Graphic 13">
            <a:extLst>
              <a:ext uri="{FF2B5EF4-FFF2-40B4-BE49-F238E27FC236}">
                <a16:creationId xmlns:a16="http://schemas.microsoft.com/office/drawing/2014/main" id="{16ACD2B5-8D11-43B3-B6D6-267DF51D95B9}"/>
              </a:ext>
            </a:extLst>
          </p:cNvPr>
          <p:cNvSpPr/>
          <p:nvPr/>
        </p:nvSpPr>
        <p:spPr>
          <a:xfrm rot="10800000">
            <a:off x="9537815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D70AB44F-78AA-4535-B11C-C4ED68B41036}"/>
              </a:ext>
            </a:extLst>
          </p:cNvPr>
          <p:cNvSpPr/>
          <p:nvPr/>
        </p:nvSpPr>
        <p:spPr>
          <a:xfrm>
            <a:off x="9201046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sterdata</a:t>
            </a: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09E9AE45-9936-4256-B191-A4A980556CF4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613462" y="1710000"/>
            <a:ext cx="332721" cy="332721"/>
          </a:xfrm>
          <a:prstGeom prst="rect">
            <a:avLst/>
          </a:prstGeom>
        </p:spPr>
      </p:pic>
      <p:sp>
        <p:nvSpPr>
          <p:cNvPr id="227" name="Graphic 13">
            <a:extLst>
              <a:ext uri="{FF2B5EF4-FFF2-40B4-BE49-F238E27FC236}">
                <a16:creationId xmlns:a16="http://schemas.microsoft.com/office/drawing/2014/main" id="{2D4CEED8-3146-4251-A1AE-1DE79C595BA9}"/>
              </a:ext>
            </a:extLst>
          </p:cNvPr>
          <p:cNvSpPr/>
          <p:nvPr/>
        </p:nvSpPr>
        <p:spPr>
          <a:xfrm rot="10800000">
            <a:off x="11745677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B1285E56-5926-4DE0-9999-08C2F08C53C2}"/>
              </a:ext>
            </a:extLst>
          </p:cNvPr>
          <p:cNvSpPr/>
          <p:nvPr/>
        </p:nvSpPr>
        <p:spPr>
          <a:xfrm>
            <a:off x="11400692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ileder språkdata</a:t>
            </a:r>
          </a:p>
        </p:txBody>
      </p:sp>
      <p:pic>
        <p:nvPicPr>
          <p:cNvPr id="96" name="Graphic 95">
            <a:extLst>
              <a:ext uri="{FF2B5EF4-FFF2-40B4-BE49-F238E27FC236}">
                <a16:creationId xmlns:a16="http://schemas.microsoft.com/office/drawing/2014/main" id="{31057BB0-1683-4BDC-A342-31A5584B7664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804892" y="1710000"/>
            <a:ext cx="332721" cy="332721"/>
          </a:xfrm>
          <a:prstGeom prst="rect">
            <a:avLst/>
          </a:prstGeom>
        </p:spPr>
      </p:pic>
      <p:sp>
        <p:nvSpPr>
          <p:cNvPr id="228" name="Graphic 13">
            <a:extLst>
              <a:ext uri="{FF2B5EF4-FFF2-40B4-BE49-F238E27FC236}">
                <a16:creationId xmlns:a16="http://schemas.microsoft.com/office/drawing/2014/main" id="{5E4C374F-6871-485F-8867-CDF9CEB5D3B4}"/>
              </a:ext>
            </a:extLst>
          </p:cNvPr>
          <p:cNvSpPr/>
          <p:nvPr/>
        </p:nvSpPr>
        <p:spPr>
          <a:xfrm rot="10800000">
            <a:off x="12849608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1C68269F-081A-4FDD-B122-0673C13D3F42}"/>
              </a:ext>
            </a:extLst>
          </p:cNvPr>
          <p:cNvSpPr/>
          <p:nvPr/>
        </p:nvSpPr>
        <p:spPr>
          <a:xfrm>
            <a:off x="12500515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amarbeids-prosjekter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451FB17-BA93-41A7-91C7-24E0479D2E8F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2923407" y="1710000"/>
            <a:ext cx="332721" cy="332721"/>
          </a:xfrm>
          <a:prstGeom prst="rect">
            <a:avLst/>
          </a:prstGeom>
        </p:spPr>
      </p:pic>
      <p:sp>
        <p:nvSpPr>
          <p:cNvPr id="226" name="Graphic 13">
            <a:extLst>
              <a:ext uri="{FF2B5EF4-FFF2-40B4-BE49-F238E27FC236}">
                <a16:creationId xmlns:a16="http://schemas.microsoft.com/office/drawing/2014/main" id="{CD479423-9FB1-46A2-A364-1C5578AE796C}"/>
              </a:ext>
            </a:extLst>
          </p:cNvPr>
          <p:cNvSpPr/>
          <p:nvPr/>
        </p:nvSpPr>
        <p:spPr>
          <a:xfrm rot="10800000">
            <a:off x="10641746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3B061647-3325-4576-847C-83BFB62B556A}"/>
              </a:ext>
            </a:extLst>
          </p:cNvPr>
          <p:cNvSpPr/>
          <p:nvPr/>
        </p:nvSpPr>
        <p:spPr>
          <a:xfrm>
            <a:off x="10300869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agforum for KI</a:t>
            </a:r>
          </a:p>
        </p:txBody>
      </p:sp>
      <p:pic>
        <p:nvPicPr>
          <p:cNvPr id="101" name="Graphic 100">
            <a:extLst>
              <a:ext uri="{FF2B5EF4-FFF2-40B4-BE49-F238E27FC236}">
                <a16:creationId xmlns:a16="http://schemas.microsoft.com/office/drawing/2014/main" id="{B238637E-1D97-47EA-B52D-B6D3444E522B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717393" y="1710000"/>
            <a:ext cx="332721" cy="332721"/>
          </a:xfrm>
          <a:prstGeom prst="rect">
            <a:avLst/>
          </a:prstGeom>
        </p:spPr>
      </p:pic>
      <p:sp>
        <p:nvSpPr>
          <p:cNvPr id="229" name="Graphic 13">
            <a:extLst>
              <a:ext uri="{FF2B5EF4-FFF2-40B4-BE49-F238E27FC236}">
                <a16:creationId xmlns:a16="http://schemas.microsoft.com/office/drawing/2014/main" id="{E272848E-D053-476F-A084-C196014D71F1}"/>
              </a:ext>
            </a:extLst>
          </p:cNvPr>
          <p:cNvSpPr/>
          <p:nvPr/>
        </p:nvSpPr>
        <p:spPr>
          <a:xfrm rot="10800000">
            <a:off x="13953539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8E9B584C-ABAA-43BE-AA3B-2F006B2570DB}"/>
              </a:ext>
            </a:extLst>
          </p:cNvPr>
          <p:cNvSpPr/>
          <p:nvPr/>
        </p:nvSpPr>
        <p:spPr>
          <a:xfrm>
            <a:off x="13600338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atafabrikken</a:t>
            </a:r>
          </a:p>
        </p:txBody>
      </p:sp>
      <p:pic>
        <p:nvPicPr>
          <p:cNvPr id="103" name="Graphic 102">
            <a:extLst>
              <a:ext uri="{FF2B5EF4-FFF2-40B4-BE49-F238E27FC236}">
                <a16:creationId xmlns:a16="http://schemas.microsoft.com/office/drawing/2014/main" id="{8B5A74C1-3386-4C6B-AA3D-A32FE2FFBE93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4031862" y="1710000"/>
            <a:ext cx="332721" cy="332721"/>
          </a:xfrm>
          <a:prstGeom prst="rect">
            <a:avLst/>
          </a:prstGeom>
        </p:spPr>
      </p:pic>
      <p:sp>
        <p:nvSpPr>
          <p:cNvPr id="224" name="Graphic 13">
            <a:extLst>
              <a:ext uri="{FF2B5EF4-FFF2-40B4-BE49-F238E27FC236}">
                <a16:creationId xmlns:a16="http://schemas.microsoft.com/office/drawing/2014/main" id="{071F9875-B52B-4013-BAEB-33ED14FF47DD}"/>
              </a:ext>
            </a:extLst>
          </p:cNvPr>
          <p:cNvSpPr/>
          <p:nvPr/>
        </p:nvSpPr>
        <p:spPr>
          <a:xfrm rot="10800000">
            <a:off x="8433884" y="1606917"/>
            <a:ext cx="484017" cy="541605"/>
          </a:xfrm>
          <a:prstGeom prst="ellipse">
            <a:avLst/>
          </a:prstGeom>
          <a:solidFill>
            <a:schemeClr val="tx2">
              <a:lumMod val="25000"/>
              <a:lumOff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3018"/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752BB489-D2E2-41F5-A716-700E2CB7F15F}"/>
              </a:ext>
            </a:extLst>
          </p:cNvPr>
          <p:cNvSpPr/>
          <p:nvPr/>
        </p:nvSpPr>
        <p:spPr>
          <a:xfrm>
            <a:off x="8101223" y="2254918"/>
            <a:ext cx="1141122" cy="5266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irksomhets-identiteter</a:t>
            </a:r>
          </a:p>
        </p:txBody>
      </p:sp>
      <p:pic>
        <p:nvPicPr>
          <p:cNvPr id="106" name="Graphic 105">
            <a:extLst>
              <a:ext uri="{FF2B5EF4-FFF2-40B4-BE49-F238E27FC236}">
                <a16:creationId xmlns:a16="http://schemas.microsoft.com/office/drawing/2014/main" id="{5C7263B7-69B4-4A7D-9D2B-54948B6CB7FB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8509532" y="1710000"/>
            <a:ext cx="332721" cy="332721"/>
          </a:xfrm>
          <a:prstGeom prst="rect">
            <a:avLst/>
          </a:prstGeom>
        </p:spPr>
      </p:pic>
      <p:sp>
        <p:nvSpPr>
          <p:cNvPr id="33" name="Arrow: Right 32">
            <a:extLst>
              <a:ext uri="{FF2B5EF4-FFF2-40B4-BE49-F238E27FC236}">
                <a16:creationId xmlns:a16="http://schemas.microsoft.com/office/drawing/2014/main" id="{0768C40B-EA49-4B6C-BAF0-AA17A84A4ECB}"/>
              </a:ext>
            </a:extLst>
          </p:cNvPr>
          <p:cNvSpPr/>
          <p:nvPr/>
        </p:nvSpPr>
        <p:spPr>
          <a:xfrm>
            <a:off x="15466329" y="2936416"/>
            <a:ext cx="541934" cy="1060428"/>
          </a:xfrm>
          <a:prstGeom prst="rightArrow">
            <a:avLst>
              <a:gd name="adj1" fmla="val 30646"/>
              <a:gd name="adj2" fmla="val 7337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DBDBC5DE-286D-4C61-B70A-A18DCD890FC5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612000" y="4423166"/>
            <a:ext cx="191981" cy="1919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797785D-0E56-4DB7-A439-8C432FBFF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ktiviteter og initiativ i prosjektet i 2020</a:t>
            </a:r>
          </a:p>
        </p:txBody>
      </p:sp>
    </p:spTree>
    <p:extLst>
      <p:ext uri="{BB962C8B-B14F-4D97-AF65-F5344CB8AC3E}">
        <p14:creationId xmlns:p14="http://schemas.microsoft.com/office/powerpoint/2010/main" val="133351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B9037E-D8AB-4A22-857F-165B070A23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B9037E-D8AB-4A22-857F-165B070A23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205C765-31B3-47BD-96DF-08A7647FC37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492648" y="1481138"/>
            <a:ext cx="6541862" cy="692150"/>
          </a:xfrm>
        </p:spPr>
        <p:txBody>
          <a:bodyPr vert="horz"/>
          <a:lstStyle/>
          <a:p>
            <a:r>
              <a:rPr lang="nb-NO" b="1"/>
              <a:t>Agenda</a:t>
            </a:r>
          </a:p>
        </p:txBody>
      </p:sp>
      <p:pic>
        <p:nvPicPr>
          <p:cNvPr id="6" name="Content Placeholder 9">
            <a:extLst>
              <a:ext uri="{FF2B5EF4-FFF2-40B4-BE49-F238E27FC236}">
                <a16:creationId xmlns:a16="http://schemas.microsoft.com/office/drawing/2014/main" id="{2B0FE10D-46F9-4841-A9C1-45D423A29CC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47" r="20589"/>
          <a:stretch/>
        </p:blipFill>
        <p:spPr>
          <a:xfrm>
            <a:off x="-1" y="1"/>
            <a:ext cx="7871255" cy="9143999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EA3B9E9-A000-42D2-B978-0FFD27C654D4}"/>
              </a:ext>
            </a:extLst>
          </p:cNvPr>
          <p:cNvSpPr/>
          <p:nvPr/>
        </p:nvSpPr>
        <p:spPr>
          <a:xfrm>
            <a:off x="8797635" y="2669654"/>
            <a:ext cx="6444205" cy="921714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/>
              <a:t>Introduksjon til prosjekt Deling av da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A990EF8-5544-46FA-B6E7-510F4422C89B}"/>
              </a:ext>
            </a:extLst>
          </p:cNvPr>
          <p:cNvSpPr/>
          <p:nvPr/>
        </p:nvSpPr>
        <p:spPr>
          <a:xfrm>
            <a:off x="8797635" y="3831846"/>
            <a:ext cx="6444205" cy="92171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b="1"/>
              <a:t>Nasjonal verktøykasse for deling av data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4368B1F-DF94-4A51-8AC7-7A53D1119CE7}"/>
              </a:ext>
            </a:extLst>
          </p:cNvPr>
          <p:cNvSpPr/>
          <p:nvPr/>
        </p:nvSpPr>
        <p:spPr>
          <a:xfrm>
            <a:off x="8797634" y="5016364"/>
            <a:ext cx="6444205" cy="921714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400"/>
              <a:t>Veileder for deling av språkdata</a:t>
            </a:r>
          </a:p>
        </p:txBody>
      </p:sp>
    </p:spTree>
    <p:extLst>
      <p:ext uri="{BB962C8B-B14F-4D97-AF65-F5344CB8AC3E}">
        <p14:creationId xmlns:p14="http://schemas.microsoft.com/office/powerpoint/2010/main" val="52706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2fxT_tFKeOetAuKSTqw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2fxT_tFKeOetAuKSTq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2fxT_tFKeOetAuKSTq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H6qMvB35MaWp74CqmT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H6qMvB35MaWp74CqmT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_Digdir_mal_27.10.2020.pptx" id="{8AF9D9D7-B2FD-4108-BF0E-11C8B0F8A2FC}" vid="{971601A9-A140-454F-BD8A-531328B23C9B}"/>
    </a:ext>
  </a:extLst>
</a:theme>
</file>

<file path=ppt/theme/theme10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y_Digdir_mal_27.10.2020.pptx" id="{8AF9D9D7-B2FD-4108-BF0E-11C8B0F8A2FC}" vid="{971601A9-A140-454F-BD8A-531328B23C9B}"/>
    </a:ext>
  </a:extLst>
</a:theme>
</file>

<file path=ppt/theme/theme2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3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4.xml><?xml version="1.0" encoding="utf-8"?>
<a:theme xmlns:a="http://schemas.openxmlformats.org/drawingml/2006/main" name="Office-tema">
  <a:themeElements>
    <a:clrScheme name="Språkråde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898D"/>
      </a:accent1>
      <a:accent2>
        <a:srgbClr val="DADAD9"/>
      </a:accent2>
      <a:accent3>
        <a:srgbClr val="F4A800"/>
      </a:accent3>
      <a:accent4>
        <a:srgbClr val="F7D48C"/>
      </a:accent4>
      <a:accent5>
        <a:srgbClr val="4F4177"/>
      </a:accent5>
      <a:accent6>
        <a:srgbClr val="F08269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.potx" id="{D2A136B0-F4EE-4B1F-9827-D2195CD399F6}" vid="{C9BDB103-49A8-4248-9246-4F06196A61BD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D0B8884EB06645AB3C4DB64C6FB9CF" ma:contentTypeVersion="13" ma:contentTypeDescription="Create a new document." ma:contentTypeScope="" ma:versionID="182c716f7ed29c2c1619f29e82c5628e">
  <xsd:schema xmlns:xsd="http://www.w3.org/2001/XMLSchema" xmlns:xs="http://www.w3.org/2001/XMLSchema" xmlns:p="http://schemas.microsoft.com/office/2006/metadata/properties" xmlns:ns3="771b0883-4074-4c71-9ab9-3739eef392bf" xmlns:ns4="e06d25fe-bd94-4ef2-9b11-1350446e91e5" targetNamespace="http://schemas.microsoft.com/office/2006/metadata/properties" ma:root="true" ma:fieldsID="169ebfc070c5d7cf4675da12a94728dd" ns3:_="" ns4:_="">
    <xsd:import namespace="771b0883-4074-4c71-9ab9-3739eef392bf"/>
    <xsd:import namespace="e06d25fe-bd94-4ef2-9b11-1350446e91e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1b0883-4074-4c71-9ab9-3739eef392b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6d25fe-bd94-4ef2-9b11-1350446e91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015865-8E90-45EB-8B62-1C95A0C204A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71b0883-4074-4c71-9ab9-3739eef392bf"/>
    <ds:schemaRef ds:uri="e06d25fe-bd94-4ef2-9b11-1350446e91e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CDE3483-3244-459C-B064-824C3B221A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E1D1E0D-97F3-4D77-8F0E-1C38A01A63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1b0883-4074-4c71-9ab9-3739eef392bf"/>
    <ds:schemaRef ds:uri="e06d25fe-bd94-4ef2-9b11-1350446e91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igdir Mal</Template>
  <TotalTime>0</TotalTime>
  <Words>1541</Words>
  <Application>Microsoft Office PowerPoint</Application>
  <PresentationFormat>Custom</PresentationFormat>
  <Paragraphs>223</Paragraphs>
  <Slides>1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Segoe UI</vt:lpstr>
      <vt:lpstr>Wingdings</vt:lpstr>
      <vt:lpstr>Digdir PPTmal</vt:lpstr>
      <vt:lpstr>Digdir PPTmal</vt:lpstr>
      <vt:lpstr>Digdir PPTmal</vt:lpstr>
      <vt:lpstr>Office-tema</vt:lpstr>
      <vt:lpstr>think-cell Slide</vt:lpstr>
      <vt:lpstr>Prosjekt  Deling av data  02.12.20</vt:lpstr>
      <vt:lpstr>PowerPoint Presentation</vt:lpstr>
      <vt:lpstr>Agenda</vt:lpstr>
      <vt:lpstr>Agenda</vt:lpstr>
      <vt:lpstr>Deling av data er et av innsatsområdene i regjeringens digitaliseringsstrategi</vt:lpstr>
      <vt:lpstr>PowerPoint Presentation</vt:lpstr>
      <vt:lpstr>PowerPoint Presentation</vt:lpstr>
      <vt:lpstr>Aktiviteter og initiativ i prosjektet i 2020</vt:lpstr>
      <vt:lpstr>Agenda</vt:lpstr>
      <vt:lpstr>Hvorfor trenger vi en nasjonal verktøykasse for deling av data</vt:lpstr>
      <vt:lpstr>Hva er nettversjonen av nasjonal verktøykasse for deling av data</vt:lpstr>
      <vt:lpstr>Agenda</vt:lpstr>
      <vt:lpstr>Veileder for innsamling av språkdata fra offentlig sektor: Et samarbeid mellom Digitaliseringsdirektoratet, Nasjonalbiblioteket og Språkrådet</vt:lpstr>
      <vt:lpstr>Bakgrunn: Strategier, meldinger og rapporter</vt:lpstr>
      <vt:lpstr>Språkteknologi i offentlig sektor</vt:lpstr>
      <vt:lpstr>Veildederen</vt:lpstr>
      <vt:lpstr>Veilederen</vt:lpstr>
      <vt:lpstr>Takk for oppmerksomheten!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jekt Deling av data</dc:title>
  <dc:creator>Flatland, Kjetil</dc:creator>
  <cp:lastModifiedBy>Flatland, Kjetil</cp:lastModifiedBy>
  <cp:revision>1</cp:revision>
  <dcterms:created xsi:type="dcterms:W3CDTF">2020-11-09T14:03:11Z</dcterms:created>
  <dcterms:modified xsi:type="dcterms:W3CDTF">2020-12-02T15:4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D0B8884EB06645AB3C4DB64C6FB9CF</vt:lpwstr>
  </property>
</Properties>
</file>